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8.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9.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0.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729" r:id="rId2"/>
    <p:sldMasterId id="2147483752" r:id="rId3"/>
    <p:sldMasterId id="2147483761" r:id="rId4"/>
    <p:sldMasterId id="2147483770" r:id="rId5"/>
    <p:sldMasterId id="2147483779" r:id="rId6"/>
    <p:sldMasterId id="2147483827" r:id="rId7"/>
    <p:sldMasterId id="2147483921" r:id="rId8"/>
    <p:sldMasterId id="2147483962" r:id="rId9"/>
    <p:sldMasterId id="2147484003" r:id="rId10"/>
  </p:sldMasterIdLst>
  <p:notesMasterIdLst>
    <p:notesMasterId r:id="rId16"/>
  </p:notesMasterIdLst>
  <p:handoutMasterIdLst>
    <p:handoutMasterId r:id="rId17"/>
  </p:handoutMasterIdLst>
  <p:sldIdLst>
    <p:sldId id="385" r:id="rId11"/>
    <p:sldId id="386" r:id="rId12"/>
    <p:sldId id="387" r:id="rId13"/>
    <p:sldId id="388" r:id="rId14"/>
    <p:sldId id="389" r:id="rId15"/>
  </p:sldIdLst>
  <p:sldSz cx="9144000" cy="5143500" type="screen16x9"/>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1B1A2CF3-DA19-437A-B594-89B0FE3A7FAF}">
          <p14:sldIdLst>
            <p14:sldId id="385"/>
            <p14:sldId id="386"/>
            <p14:sldId id="387"/>
            <p14:sldId id="388"/>
            <p14:sldId id="389"/>
          </p14:sldIdLst>
        </p14:section>
      </p14:sectionLst>
    </p:ext>
    <p:ext uri="{EFAFB233-063F-42B5-8137-9DF3F51BA10A}">
      <p15:sldGuideLst xmlns:p15="http://schemas.microsoft.com/office/powerpoint/2012/main">
        <p15:guide id="1" orient="horz" pos="3049">
          <p15:clr>
            <a:srgbClr val="A4A3A4"/>
          </p15:clr>
        </p15:guide>
        <p15:guide id="2" orient="horz" pos="735" userDrawn="1">
          <p15:clr>
            <a:srgbClr val="A4A3A4"/>
          </p15:clr>
        </p15:guide>
        <p15:guide id="3" orient="horz" pos="2822">
          <p15:clr>
            <a:srgbClr val="A4A3A4"/>
          </p15:clr>
        </p15:guide>
        <p15:guide id="4" pos="5602">
          <p15:clr>
            <a:srgbClr val="A4A3A4"/>
          </p15:clr>
        </p15:guide>
        <p15:guide id="5" pos="204">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4684" autoAdjust="0"/>
    <p:restoredTop sz="86070" autoAdjust="0"/>
  </p:normalViewPr>
  <p:slideViewPr>
    <p:cSldViewPr snapToObjects="1">
      <p:cViewPr varScale="1">
        <p:scale>
          <a:sx n="125" d="100"/>
          <a:sy n="125" d="100"/>
        </p:scale>
        <p:origin x="101" y="370"/>
      </p:cViewPr>
      <p:guideLst>
        <p:guide orient="horz" pos="3049"/>
        <p:guide orient="horz" pos="735"/>
        <p:guide orient="horz" pos="2822"/>
        <p:guide pos="5602"/>
        <p:guide pos="204"/>
      </p:guideLst>
    </p:cSldViewPr>
  </p:slideViewPr>
  <p:outlineViewPr>
    <p:cViewPr>
      <p:scale>
        <a:sx n="33" d="100"/>
        <a:sy n="33" d="100"/>
      </p:scale>
      <p:origin x="6" y="11214"/>
    </p:cViewPr>
  </p:outlineViewPr>
  <p:notesTextViewPr>
    <p:cViewPr>
      <p:scale>
        <a:sx n="1" d="1"/>
        <a:sy n="1" d="1"/>
      </p:scale>
      <p:origin x="0" y="0"/>
    </p:cViewPr>
  </p:notesTextViewPr>
  <p:sorterViewPr>
    <p:cViewPr>
      <p:scale>
        <a:sx n="130" d="100"/>
        <a:sy n="130" d="100"/>
      </p:scale>
      <p:origin x="0" y="820"/>
    </p:cViewPr>
  </p:sorterViewPr>
  <p:notesViewPr>
    <p:cSldViewPr snapToObjects="1">
      <p:cViewPr>
        <p:scale>
          <a:sx n="75" d="100"/>
          <a:sy n="75" d="100"/>
        </p:scale>
        <p:origin x="-4086" y="-666"/>
      </p:cViewPr>
      <p:guideLst>
        <p:guide orient="horz" pos="3126"/>
        <p:guide pos="2141"/>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slide" Target="slides/slide5.xml"/><Relationship Id="rId10" Type="http://schemas.openxmlformats.org/officeDocument/2006/relationships/slideMaster" Target="slideMasters/slideMaster10.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image" Target="../media/image31.wmf"/><Relationship Id="rId1" Type="http://schemas.openxmlformats.org/officeDocument/2006/relationships/image" Target="../media/image30.wmf"/><Relationship Id="rId5" Type="http://schemas.openxmlformats.org/officeDocument/2006/relationships/image" Target="../media/image34.wmf"/><Relationship Id="rId4" Type="http://schemas.openxmlformats.org/officeDocument/2006/relationships/image" Target="../media/image3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182" cy="496882"/>
          </a:xfrm>
          <a:prstGeom prst="rect">
            <a:avLst/>
          </a:prstGeom>
        </p:spPr>
        <p:txBody>
          <a:bodyPr vert="horz" lIns="90418" tIns="45210" rIns="90418" bIns="45210" rtlCol="0"/>
          <a:lstStyle>
            <a:lvl1pPr algn="l">
              <a:defRPr sz="1200"/>
            </a:lvl1pPr>
          </a:lstStyle>
          <a:p>
            <a:endParaRPr lang="de-DE"/>
          </a:p>
        </p:txBody>
      </p:sp>
      <p:sp>
        <p:nvSpPr>
          <p:cNvPr id="3" name="Datumsplatzhalter 2"/>
          <p:cNvSpPr>
            <a:spLocks noGrp="1"/>
          </p:cNvSpPr>
          <p:nvPr>
            <p:ph type="dt" sz="quarter" idx="1"/>
          </p:nvPr>
        </p:nvSpPr>
        <p:spPr>
          <a:xfrm>
            <a:off x="3849927" y="0"/>
            <a:ext cx="2946182" cy="496882"/>
          </a:xfrm>
          <a:prstGeom prst="rect">
            <a:avLst/>
          </a:prstGeom>
        </p:spPr>
        <p:txBody>
          <a:bodyPr vert="horz" lIns="90418" tIns="45210" rIns="90418" bIns="45210" rtlCol="0"/>
          <a:lstStyle>
            <a:lvl1pPr algn="r">
              <a:defRPr sz="1200"/>
            </a:lvl1pPr>
          </a:lstStyle>
          <a:p>
            <a:fld id="{96E43114-CF6F-40A1-B6B1-84FD46491BE1}" type="datetimeFigureOut">
              <a:rPr lang="de-DE" smtClean="0"/>
              <a:t>26.01.2018</a:t>
            </a:fld>
            <a:endParaRPr lang="de-DE"/>
          </a:p>
        </p:txBody>
      </p:sp>
      <p:sp>
        <p:nvSpPr>
          <p:cNvPr id="4" name="Fußzeilenplatzhalter 3"/>
          <p:cNvSpPr>
            <a:spLocks noGrp="1"/>
          </p:cNvSpPr>
          <p:nvPr>
            <p:ph type="ftr" sz="quarter" idx="2"/>
          </p:nvPr>
        </p:nvSpPr>
        <p:spPr>
          <a:xfrm>
            <a:off x="0" y="9428183"/>
            <a:ext cx="2946182" cy="496882"/>
          </a:xfrm>
          <a:prstGeom prst="rect">
            <a:avLst/>
          </a:prstGeom>
        </p:spPr>
        <p:txBody>
          <a:bodyPr vert="horz" lIns="90418" tIns="45210" rIns="90418" bIns="45210" rtlCol="0" anchor="b"/>
          <a:lstStyle>
            <a:lvl1pPr algn="l">
              <a:defRPr sz="1200"/>
            </a:lvl1pPr>
          </a:lstStyle>
          <a:p>
            <a:endParaRPr lang="de-DE"/>
          </a:p>
        </p:txBody>
      </p:sp>
      <p:sp>
        <p:nvSpPr>
          <p:cNvPr id="5" name="Foliennummernplatzhalter 4"/>
          <p:cNvSpPr>
            <a:spLocks noGrp="1"/>
          </p:cNvSpPr>
          <p:nvPr>
            <p:ph type="sldNum" sz="quarter" idx="3"/>
          </p:nvPr>
        </p:nvSpPr>
        <p:spPr>
          <a:xfrm>
            <a:off x="3849927" y="9428183"/>
            <a:ext cx="2946182" cy="496882"/>
          </a:xfrm>
          <a:prstGeom prst="rect">
            <a:avLst/>
          </a:prstGeom>
        </p:spPr>
        <p:txBody>
          <a:bodyPr vert="horz" lIns="90418" tIns="45210" rIns="90418" bIns="45210" rtlCol="0" anchor="b"/>
          <a:lstStyle>
            <a:lvl1pPr algn="r">
              <a:defRPr sz="1200"/>
            </a:lvl1pPr>
          </a:lstStyle>
          <a:p>
            <a:fld id="{B3C9F958-DCCF-42B7-9989-9480403B53E7}" type="slidenum">
              <a:rPr lang="de-DE" smtClean="0"/>
              <a:t>‹Nr.›</a:t>
            </a:fld>
            <a:endParaRPr lang="de-DE"/>
          </a:p>
        </p:txBody>
      </p:sp>
    </p:spTree>
    <p:extLst>
      <p:ext uri="{BB962C8B-B14F-4D97-AF65-F5344CB8AC3E}">
        <p14:creationId xmlns:p14="http://schemas.microsoft.com/office/powerpoint/2010/main" val="18192741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6332"/>
          </a:xfrm>
          <a:prstGeom prst="rect">
            <a:avLst/>
          </a:prstGeom>
        </p:spPr>
        <p:txBody>
          <a:bodyPr vert="horz" lIns="95554" tIns="47777" rIns="95554" bIns="47777" rtlCol="0"/>
          <a:lstStyle>
            <a:lvl1pPr algn="l">
              <a:defRPr sz="1300"/>
            </a:lvl1pPr>
          </a:lstStyle>
          <a:p>
            <a:endParaRPr lang="en-US"/>
          </a:p>
        </p:txBody>
      </p:sp>
      <p:sp>
        <p:nvSpPr>
          <p:cNvPr id="3" name="Datumsplatzhalter 2"/>
          <p:cNvSpPr>
            <a:spLocks noGrp="1"/>
          </p:cNvSpPr>
          <p:nvPr>
            <p:ph type="dt" idx="1"/>
          </p:nvPr>
        </p:nvSpPr>
        <p:spPr>
          <a:xfrm>
            <a:off x="3850443" y="0"/>
            <a:ext cx="2945659" cy="496332"/>
          </a:xfrm>
          <a:prstGeom prst="rect">
            <a:avLst/>
          </a:prstGeom>
        </p:spPr>
        <p:txBody>
          <a:bodyPr vert="horz" lIns="95554" tIns="47777" rIns="95554" bIns="47777" rtlCol="0"/>
          <a:lstStyle>
            <a:lvl1pPr algn="r">
              <a:defRPr sz="1300"/>
            </a:lvl1pPr>
          </a:lstStyle>
          <a:p>
            <a:fld id="{D1A5B962-081D-4513-AE95-B2842E7C87F5}" type="datetimeFigureOut">
              <a:rPr lang="en-US" smtClean="0"/>
              <a:t>1/26/2018</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54" tIns="47777" rIns="95554" bIns="47777" rtlCol="0" anchor="ctr"/>
          <a:lstStyle/>
          <a:p>
            <a:endParaRPr lang="en-US"/>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5554" tIns="47777" rIns="95554" bIns="47777"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9428583"/>
            <a:ext cx="2945659" cy="496332"/>
          </a:xfrm>
          <a:prstGeom prst="rect">
            <a:avLst/>
          </a:prstGeom>
        </p:spPr>
        <p:txBody>
          <a:bodyPr vert="horz" lIns="95554" tIns="47777" rIns="95554" bIns="47777" rtlCol="0" anchor="b"/>
          <a:lstStyle>
            <a:lvl1pPr algn="l">
              <a:defRPr sz="1300"/>
            </a:lvl1pPr>
          </a:lstStyle>
          <a:p>
            <a:endParaRPr lang="en-US"/>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5554" tIns="47777" rIns="95554" bIns="47777" rtlCol="0" anchor="b"/>
          <a:lstStyle>
            <a:lvl1pPr algn="r">
              <a:defRPr sz="1300"/>
            </a:lvl1pPr>
          </a:lstStyle>
          <a:p>
            <a:fld id="{5E9C5943-8A21-404E-A5CD-C1B6EFAE25DF}" type="slidenum">
              <a:rPr lang="en-US" smtClean="0"/>
              <a:t>‹Nr.›</a:t>
            </a:fld>
            <a:endParaRPr lang="en-US"/>
          </a:p>
        </p:txBody>
      </p:sp>
    </p:spTree>
    <p:extLst>
      <p:ext uri="{BB962C8B-B14F-4D97-AF65-F5344CB8AC3E}">
        <p14:creationId xmlns:p14="http://schemas.microsoft.com/office/powerpoint/2010/main" val="3701668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8" Type="http://schemas.openxmlformats.org/officeDocument/2006/relationships/hyperlink" Target="http://www.xing.com/companies/asmassemblysystems" TargetMode="External"/><Relationship Id="rId13" Type="http://schemas.openxmlformats.org/officeDocument/2006/relationships/image" Target="../media/image12.png"/><Relationship Id="rId18" Type="http://schemas.openxmlformats.org/officeDocument/2006/relationships/image" Target="../media/image15.png"/><Relationship Id="rId3" Type="http://schemas.openxmlformats.org/officeDocument/2006/relationships/image" Target="../media/image2.emf"/><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hyperlink" Target="http://www.asm-smt.com/de/newsletter" TargetMode="External"/><Relationship Id="rId2" Type="http://schemas.openxmlformats.org/officeDocument/2006/relationships/image" Target="../media/image3.png"/><Relationship Id="rId16"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hyperlink" Target="http://www.youtube.com/c/ASMSMTSolutions" TargetMode="External"/><Relationship Id="rId11" Type="http://schemas.openxmlformats.org/officeDocument/2006/relationships/hyperlink" Target="http://www.facebook.com/ASMAssemblySystems" TargetMode="External"/><Relationship Id="rId5" Type="http://schemas.openxmlformats.org/officeDocument/2006/relationships/hyperlink" Target="http://www.smart-smt-factory-forum.com/" TargetMode="Externa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hyperlink" Target="http://www.linkedin.com/company/asm-assembly-systems" TargetMode="External"/><Relationship Id="rId14" Type="http://schemas.openxmlformats.org/officeDocument/2006/relationships/hyperlink" Target="http://www.asm-smt.com/" TargetMode="External"/></Relationships>
</file>

<file path=ppt/slideLayouts/_rels/slideLayout137.xml.rels><?xml version="1.0" encoding="UTF-8" standalone="yes"?>
<Relationships xmlns="http://schemas.openxmlformats.org/package/2006/relationships"><Relationship Id="rId8" Type="http://schemas.openxmlformats.org/officeDocument/2006/relationships/hyperlink" Target="http://www.xing.com/companies/asmassemblysystems" TargetMode="External"/><Relationship Id="rId13" Type="http://schemas.openxmlformats.org/officeDocument/2006/relationships/image" Target="../media/image12.png"/><Relationship Id="rId18" Type="http://schemas.openxmlformats.org/officeDocument/2006/relationships/image" Target="../media/image15.png"/><Relationship Id="rId3" Type="http://schemas.openxmlformats.org/officeDocument/2006/relationships/image" Target="../media/image2.emf"/><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hyperlink" Target="http://www.asm-smt.com/en/newsletter" TargetMode="External"/><Relationship Id="rId2" Type="http://schemas.openxmlformats.org/officeDocument/2006/relationships/image" Target="../media/image3.png"/><Relationship Id="rId16"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hyperlink" Target="http://www.youtube.com/c/ASMSMTSolutions" TargetMode="External"/><Relationship Id="rId11" Type="http://schemas.openxmlformats.org/officeDocument/2006/relationships/hyperlink" Target="http://www.facebook.com/ASMAssemblySystems" TargetMode="External"/><Relationship Id="rId5" Type="http://schemas.openxmlformats.org/officeDocument/2006/relationships/hyperlink" Target="http://www.smart-smt-factory-forum.com/" TargetMode="Externa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hyperlink" Target="http://www.linkedin.com/company/asm-assembly-systems" TargetMode="External"/><Relationship Id="rId14" Type="http://schemas.openxmlformats.org/officeDocument/2006/relationships/hyperlink" Target="http://www.asm-smt.com/" TargetMode="Externa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8" Type="http://schemas.openxmlformats.org/officeDocument/2006/relationships/hyperlink" Target="http://www.xing.com/companies/asmassemblysystems" TargetMode="External"/><Relationship Id="rId13" Type="http://schemas.openxmlformats.org/officeDocument/2006/relationships/image" Target="../media/image12.png"/><Relationship Id="rId18" Type="http://schemas.openxmlformats.org/officeDocument/2006/relationships/image" Target="../media/image15.png"/><Relationship Id="rId3" Type="http://schemas.openxmlformats.org/officeDocument/2006/relationships/image" Target="../media/image2.emf"/><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hyperlink" Target="http://www.asm-smt.com/de/newsletter" TargetMode="External"/><Relationship Id="rId2" Type="http://schemas.openxmlformats.org/officeDocument/2006/relationships/image" Target="../media/image3.png"/><Relationship Id="rId16" Type="http://schemas.openxmlformats.org/officeDocument/2006/relationships/image" Target="../media/image14.png"/><Relationship Id="rId1" Type="http://schemas.openxmlformats.org/officeDocument/2006/relationships/slideMaster" Target="../slideMasters/slideMaster7.xml"/><Relationship Id="rId6" Type="http://schemas.openxmlformats.org/officeDocument/2006/relationships/hyperlink" Target="http://www.youtube.com/c/ASMSMTSolutions" TargetMode="External"/><Relationship Id="rId11" Type="http://schemas.openxmlformats.org/officeDocument/2006/relationships/hyperlink" Target="http://www.facebook.com/ASMAssemblySystems" TargetMode="External"/><Relationship Id="rId5" Type="http://schemas.openxmlformats.org/officeDocument/2006/relationships/hyperlink" Target="http://www.smart-smt-factory-forum.com/" TargetMode="Externa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hyperlink" Target="http://www.linkedin.com/company/asm-assembly-systems" TargetMode="External"/><Relationship Id="rId14" Type="http://schemas.openxmlformats.org/officeDocument/2006/relationships/hyperlink" Target="http://www.asm-smt.com/" TargetMode="External"/></Relationships>
</file>

<file path=ppt/slideLayouts/_rels/slideLayout184.xml.rels><?xml version="1.0" encoding="UTF-8" standalone="yes"?>
<Relationships xmlns="http://schemas.openxmlformats.org/package/2006/relationships"><Relationship Id="rId8" Type="http://schemas.openxmlformats.org/officeDocument/2006/relationships/hyperlink" Target="http://www.xing.com/companies/asmassemblysystems" TargetMode="External"/><Relationship Id="rId13" Type="http://schemas.openxmlformats.org/officeDocument/2006/relationships/image" Target="../media/image12.png"/><Relationship Id="rId18" Type="http://schemas.openxmlformats.org/officeDocument/2006/relationships/image" Target="../media/image15.png"/><Relationship Id="rId3" Type="http://schemas.openxmlformats.org/officeDocument/2006/relationships/image" Target="../media/image2.emf"/><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hyperlink" Target="http://www.asm-smt.com/en/newsletter" TargetMode="External"/><Relationship Id="rId2" Type="http://schemas.openxmlformats.org/officeDocument/2006/relationships/image" Target="../media/image3.png"/><Relationship Id="rId16" Type="http://schemas.openxmlformats.org/officeDocument/2006/relationships/image" Target="../media/image14.png"/><Relationship Id="rId1" Type="http://schemas.openxmlformats.org/officeDocument/2006/relationships/slideMaster" Target="../slideMasters/slideMaster7.xml"/><Relationship Id="rId6" Type="http://schemas.openxmlformats.org/officeDocument/2006/relationships/hyperlink" Target="http://www.youtube.com/c/ASMSMTSolutions" TargetMode="External"/><Relationship Id="rId11" Type="http://schemas.openxmlformats.org/officeDocument/2006/relationships/hyperlink" Target="http://www.facebook.com/ASMAssemblySystems" TargetMode="External"/><Relationship Id="rId5" Type="http://schemas.openxmlformats.org/officeDocument/2006/relationships/hyperlink" Target="http://www.smart-smt-factory-forum.com/" TargetMode="Externa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hyperlink" Target="http://www.linkedin.com/company/asm-assembly-systems" TargetMode="External"/><Relationship Id="rId14" Type="http://schemas.openxmlformats.org/officeDocument/2006/relationships/hyperlink" Target="http://www.asm-smt.com/" TargetMode="Externa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2.emf"/></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jpeg"/><Relationship Id="rId1" Type="http://schemas.openxmlformats.org/officeDocument/2006/relationships/slideMaster" Target="../slideMasters/slideMaster8.xml"/><Relationship Id="rId4" Type="http://schemas.openxmlformats.org/officeDocument/2006/relationships/image" Target="../media/image2.emf"/></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8.png"/><Relationship Id="rId1" Type="http://schemas.openxmlformats.org/officeDocument/2006/relationships/slideMaster" Target="../slideMasters/slideMaster9.xml"/><Relationship Id="rId4" Type="http://schemas.openxmlformats.org/officeDocument/2006/relationships/image" Target="../media/image2.emf"/></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jpeg"/><Relationship Id="rId1" Type="http://schemas.openxmlformats.org/officeDocument/2006/relationships/slideMaster" Target="../slideMasters/slideMaster9.xml"/><Relationship Id="rId4" Type="http://schemas.openxmlformats.org/officeDocument/2006/relationships/image" Target="../media/image2.emf"/></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22.png"/></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png"/><Relationship Id="rId1" Type="http://schemas.openxmlformats.org/officeDocument/2006/relationships/slideMaster" Target="../slideMasters/slideMaster10.xml"/><Relationship Id="rId4" Type="http://schemas.openxmlformats.org/officeDocument/2006/relationships/image" Target="../media/image2.emf"/></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8.xml"/><Relationship Id="rId1" Type="http://schemas.openxmlformats.org/officeDocument/2006/relationships/vmlDrawing" Target="../drawings/vmlDrawing8.vml"/><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hyperlink" Target="http://www.xing.com/companies/asmassemblysystems" TargetMode="External"/><Relationship Id="rId13" Type="http://schemas.openxmlformats.org/officeDocument/2006/relationships/image" Target="../media/image12.png"/><Relationship Id="rId18" Type="http://schemas.openxmlformats.org/officeDocument/2006/relationships/image" Target="../media/image15.png"/><Relationship Id="rId3" Type="http://schemas.openxmlformats.org/officeDocument/2006/relationships/image" Target="../media/image2.emf"/><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hyperlink" Target="http://www.asm-smt.com/de/newsletter" TargetMode="External"/><Relationship Id="rId2" Type="http://schemas.openxmlformats.org/officeDocument/2006/relationships/image" Target="../media/image3.png"/><Relationship Id="rId16"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hyperlink" Target="http://www.youtube.com/c/ASMSMTSolutions" TargetMode="External"/><Relationship Id="rId11" Type="http://schemas.openxmlformats.org/officeDocument/2006/relationships/hyperlink" Target="http://www.facebook.com/ASMAssemblySystems" TargetMode="External"/><Relationship Id="rId5" Type="http://schemas.openxmlformats.org/officeDocument/2006/relationships/hyperlink" Target="http://www.smart-smt-factory-forum.com/" TargetMode="Externa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hyperlink" Target="http://www.linkedin.com/company/asm-assembly-systems" TargetMode="External"/><Relationship Id="rId14" Type="http://schemas.openxmlformats.org/officeDocument/2006/relationships/hyperlink" Target="http://www.asm-smt.com/" TargetMode="Externa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www.xing.com/companies/asmassemblysystems" TargetMode="External"/><Relationship Id="rId13" Type="http://schemas.openxmlformats.org/officeDocument/2006/relationships/image" Target="../media/image12.png"/><Relationship Id="rId18" Type="http://schemas.openxmlformats.org/officeDocument/2006/relationships/image" Target="../media/image15.png"/><Relationship Id="rId3" Type="http://schemas.openxmlformats.org/officeDocument/2006/relationships/image" Target="../media/image2.emf"/><Relationship Id="rId7" Type="http://schemas.openxmlformats.org/officeDocument/2006/relationships/image" Target="../media/image9.png"/><Relationship Id="rId12" Type="http://schemas.openxmlformats.org/officeDocument/2006/relationships/image" Target="../media/image11.png"/><Relationship Id="rId17" Type="http://schemas.openxmlformats.org/officeDocument/2006/relationships/hyperlink" Target="http://www.asm-smt.com/en/newsletter" TargetMode="External"/><Relationship Id="rId2" Type="http://schemas.openxmlformats.org/officeDocument/2006/relationships/image" Target="../media/image3.png"/><Relationship Id="rId16"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hyperlink" Target="http://www.youtube.com/c/ASMSMTSolutions" TargetMode="External"/><Relationship Id="rId11" Type="http://schemas.openxmlformats.org/officeDocument/2006/relationships/hyperlink" Target="http://www.facebook.com/ASMAssemblySystems" TargetMode="External"/><Relationship Id="rId5" Type="http://schemas.openxmlformats.org/officeDocument/2006/relationships/hyperlink" Target="http://www.smart-smt-factory-forum.com/" TargetMode="Externa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hyperlink" Target="http://www.linkedin.com/company/asm-assembly-systems" TargetMode="External"/><Relationship Id="rId14" Type="http://schemas.openxmlformats.org/officeDocument/2006/relationships/hyperlink" Target="http://www.asm-smt.com/" TargetMode="Externa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jpeg"/><Relationship Id="rId4" Type="http://schemas.openxmlformats.org/officeDocument/2006/relationships/image" Target="../media/image17.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22.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2.vml"/><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22.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image" Target="../media/image22.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le_1">
    <p:spTree>
      <p:nvGrpSpPr>
        <p:cNvPr id="1" name=""/>
        <p:cNvGrpSpPr/>
        <p:nvPr/>
      </p:nvGrpSpPr>
      <p:grpSpPr>
        <a:xfrm>
          <a:off x="0" y="0"/>
          <a:ext cx="0" cy="0"/>
          <a:chOff x="0" y="0"/>
          <a:chExt cx="0" cy="0"/>
        </a:xfrm>
      </p:grpSpPr>
      <p:grpSp>
        <p:nvGrpSpPr>
          <p:cNvPr id="5" name="Gruppieren 4"/>
          <p:cNvGrpSpPr/>
          <p:nvPr userDrawn="1"/>
        </p:nvGrpSpPr>
        <p:grpSpPr>
          <a:xfrm>
            <a:off x="0" y="2"/>
            <a:ext cx="9144000" cy="5141913"/>
            <a:chOff x="0" y="0"/>
            <a:chExt cx="9144000" cy="5141913"/>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7"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 y="0"/>
            <a:ext cx="7726363" cy="51450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39" y="14849"/>
            <a:ext cx="9142522" cy="352901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628800"/>
            <a:ext cx="3816000" cy="766800"/>
          </a:xfrm>
        </p:spPr>
        <p:txBody>
          <a:bodyPr lIns="0" tIns="0" rIns="0" bIns="46800"/>
          <a:lstStyle>
            <a:lvl1pPr algn="l">
              <a:defRPr b="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680000"/>
            <a:ext cx="3816000" cy="392400"/>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3894416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anim calcmode="lin" valueType="num">
                                      <p:cBhvr>
                                        <p:cTn id="16" dur="1000" fill="hold"/>
                                        <p:tgtEl>
                                          <p:spTgt spid="7"/>
                                        </p:tgtEl>
                                        <p:attrNameLst>
                                          <p:attrName>ppt_x</p:attrName>
                                        </p:attrNameLst>
                                      </p:cBhvr>
                                      <p:tavLst>
                                        <p:tav tm="0">
                                          <p:val>
                                            <p:strVal val="#ppt_x"/>
                                          </p:val>
                                        </p:tav>
                                        <p:tav tm="100000">
                                          <p:val>
                                            <p:strVal val="#ppt_x"/>
                                          </p:val>
                                        </p:tav>
                                      </p:tavLst>
                                    </p:anim>
                                    <p:anim calcmode="lin" valueType="num">
                                      <p:cBhvr>
                                        <p:cTn id="17"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_Text_3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BBF6BA8-A245-4766-8173-D53B3F540513}"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6"/>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7153728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_Text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281FF832-9060-47DA-B25E-893FE390D42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590011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ndard_Text_3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BBF6BA8-A245-4766-8173-D53B3F540513}"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6"/>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1982683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tandard_Text_4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E378B22-B104-446C-BE95-355C76E96CD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Textplatzhalter 6"/>
          <p:cNvSpPr>
            <a:spLocks noGrp="1"/>
          </p:cNvSpPr>
          <p:nvPr>
            <p:ph type="body" sz="quarter" idx="16"/>
          </p:nvPr>
        </p:nvSpPr>
        <p:spPr>
          <a:xfrm>
            <a:off x="467999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6"/>
          <p:cNvSpPr>
            <a:spLocks noGrp="1"/>
          </p:cNvSpPr>
          <p:nvPr>
            <p:ph type="body" sz="quarter" idx="17"/>
          </p:nvPr>
        </p:nvSpPr>
        <p:spPr>
          <a:xfrm>
            <a:off x="32384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0047690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tandard_Text_Table top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5257F7C-0A34-4E56-B692-68218B4FBB05}"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8127340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andard_Text_Table top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CA40FEF5-F330-4ED9-BA06-481D9B29C289}"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0000"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60064050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ndard_2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653E73-9FF0-42B5-B635-55E8550EC10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7564782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tandard_1 Text Container_2 Picture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A464D779-B2FC-4103-9F41-E1BE67F8CED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7"/>
            <a:ext cx="53292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12177104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44A6584-FC1A-4282-B121-0673C49C0870}"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7"/>
            <a:ext cx="603451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7582328"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7582328"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7582328"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42711957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tandard_3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514716B5-BC99-4DD3-94E0-4D89361703D9}"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7426508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tandard_2 Pictures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1AF93A07-FCA3-43F0-AF28-A797F24FAE3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9" y="3258000"/>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8219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_Text_4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E378B22-B104-446C-BE95-355C76E96CD4}"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1563689"/>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Textplatzhalter 6"/>
          <p:cNvSpPr>
            <a:spLocks noGrp="1"/>
          </p:cNvSpPr>
          <p:nvPr>
            <p:ph type="body" sz="quarter" idx="16"/>
          </p:nvPr>
        </p:nvSpPr>
        <p:spPr>
          <a:xfrm>
            <a:off x="467999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6"/>
          <p:cNvSpPr>
            <a:spLocks noGrp="1"/>
          </p:cNvSpPr>
          <p:nvPr>
            <p:ph type="body" sz="quarter" idx="17"/>
          </p:nvPr>
        </p:nvSpPr>
        <p:spPr>
          <a:xfrm>
            <a:off x="32384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0871834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ndard_2 Text Container_2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CB514B5-08A6-4375-ABAC-5336E5A7914A}"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8"/>
            <a:ext cx="5329238"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49" y="3258000"/>
            <a:ext cx="5329239"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97482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andard_3 Pictures_3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019BDBA-CB92-4A98-95C2-A177E2D5333A}"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8" y="3831775"/>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2484439" y="2697731"/>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8275692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tandard_3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A68CC98-BB1E-4B44-A894-37BDC1D6BF3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8"/>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50" y="3831775"/>
            <a:ext cx="6047282"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7595094"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1403349" y="2697731"/>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7595094"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7595094"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09859145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horizontal">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a:xfrm>
            <a:off x="5752647"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1" name="Bildplatzhalter 9"/>
          <p:cNvSpPr>
            <a:spLocks noGrp="1"/>
          </p:cNvSpPr>
          <p:nvPr>
            <p:ph type="pic" sz="quarter" idx="14"/>
          </p:nvPr>
        </p:nvSpPr>
        <p:spPr>
          <a:xfrm>
            <a:off x="3705705"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2" name="Bildplatzhalter 9"/>
          <p:cNvSpPr>
            <a:spLocks noGrp="1"/>
          </p:cNvSpPr>
          <p:nvPr>
            <p:ph type="pic" sz="quarter" idx="15"/>
          </p:nvPr>
        </p:nvSpPr>
        <p:spPr>
          <a:xfrm>
            <a:off x="1658764"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504B2B9-1D61-40DE-BBBC-37AC4242B47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6"/>
          </p:nvPr>
        </p:nvSpPr>
        <p:spPr>
          <a:xfrm>
            <a:off x="1404000" y="1562401"/>
            <a:ext cx="7488000" cy="1513406"/>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5605997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tandard_1 Text Container_5 Pictures horizontal">
    <p:spTree>
      <p:nvGrpSpPr>
        <p:cNvPr id="1" name=""/>
        <p:cNvGrpSpPr/>
        <p:nvPr/>
      </p:nvGrpSpPr>
      <p:grpSpPr>
        <a:xfrm>
          <a:off x="0" y="0"/>
          <a:ext cx="0" cy="0"/>
          <a:chOff x="0" y="0"/>
          <a:chExt cx="0" cy="0"/>
        </a:xfrm>
      </p:grpSpPr>
      <p:sp>
        <p:nvSpPr>
          <p:cNvPr id="11" name="Bildplatzhalter 9"/>
          <p:cNvSpPr>
            <a:spLocks noGrp="1"/>
          </p:cNvSpPr>
          <p:nvPr>
            <p:ph type="pic" sz="quarter" idx="14"/>
          </p:nvPr>
        </p:nvSpPr>
        <p:spPr>
          <a:xfrm>
            <a:off x="3844374"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EAD0F36A-4623-47B9-AE7A-D1CAC87B279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5" name="Bildplatzhalter 9"/>
          <p:cNvSpPr>
            <a:spLocks noGrp="1"/>
          </p:cNvSpPr>
          <p:nvPr>
            <p:ph type="pic" sz="quarter" idx="15"/>
          </p:nvPr>
        </p:nvSpPr>
        <p:spPr>
          <a:xfrm>
            <a:off x="5604636"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7" name="Bildplatzhalter 9"/>
          <p:cNvSpPr>
            <a:spLocks noGrp="1"/>
          </p:cNvSpPr>
          <p:nvPr>
            <p:ph type="pic" sz="quarter" idx="17"/>
          </p:nvPr>
        </p:nvSpPr>
        <p:spPr>
          <a:xfrm>
            <a:off x="323850"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8" name="Bildplatzhalter 9"/>
          <p:cNvSpPr>
            <a:spLocks noGrp="1"/>
          </p:cNvSpPr>
          <p:nvPr>
            <p:ph type="pic" sz="quarter" idx="18"/>
          </p:nvPr>
        </p:nvSpPr>
        <p:spPr>
          <a:xfrm>
            <a:off x="2084112"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7" name="Textplatzhalter 6"/>
          <p:cNvSpPr>
            <a:spLocks noGrp="1"/>
          </p:cNvSpPr>
          <p:nvPr>
            <p:ph type="body" sz="quarter" idx="19"/>
          </p:nvPr>
        </p:nvSpPr>
        <p:spPr>
          <a:xfrm>
            <a:off x="1403999" y="1562400"/>
            <a:ext cx="7488000" cy="151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9"/>
          <p:cNvSpPr>
            <a:spLocks noGrp="1"/>
          </p:cNvSpPr>
          <p:nvPr>
            <p:ph type="pic" sz="quarter" idx="16"/>
          </p:nvPr>
        </p:nvSpPr>
        <p:spPr>
          <a:xfrm>
            <a:off x="7364897"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Tree>
    <p:extLst>
      <p:ext uri="{BB962C8B-B14F-4D97-AF65-F5344CB8AC3E}">
        <p14:creationId xmlns:p14="http://schemas.microsoft.com/office/powerpoint/2010/main" val="19702862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ro Shot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38B9DB5-8761-446F-9B38-70D2616F3D1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8" name="Textplatzhalter 7"/>
          <p:cNvSpPr>
            <a:spLocks noGrp="1"/>
          </p:cNvSpPr>
          <p:nvPr>
            <p:ph type="body" sz="quarter" idx="14"/>
          </p:nvPr>
        </p:nvSpPr>
        <p:spPr>
          <a:xfrm>
            <a:off x="3203575" y="2067694"/>
            <a:ext cx="5689600" cy="273630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0024260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tandard_Grafik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Datumsplatzhalter 2"/>
          <p:cNvSpPr>
            <a:spLocks noGrp="1"/>
          </p:cNvSpPr>
          <p:nvPr>
            <p:ph type="dt" sz="half" idx="10"/>
          </p:nvPr>
        </p:nvSpPr>
        <p:spPr/>
        <p:txBody>
          <a:bodyPr/>
          <a:lstStyle/>
          <a:p>
            <a:fld id="{FD8C514D-F61E-4EA9-943B-55F8F1F39C2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30" name="Textplatzhalter 6"/>
          <p:cNvSpPr>
            <a:spLocks noGrp="1"/>
          </p:cNvSpPr>
          <p:nvPr>
            <p:ph type="body" sz="quarter" idx="13"/>
          </p:nvPr>
        </p:nvSpPr>
        <p:spPr>
          <a:xfrm>
            <a:off x="4643438" y="1563687"/>
            <a:ext cx="4249736" cy="32400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3872345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
    <p:spTree>
      <p:nvGrpSpPr>
        <p:cNvPr id="1" name=""/>
        <p:cNvGrpSpPr/>
        <p:nvPr/>
      </p:nvGrpSpPr>
      <p:grpSpPr>
        <a:xfrm>
          <a:off x="0" y="0"/>
          <a:ext cx="0" cy="0"/>
          <a:chOff x="0" y="0"/>
          <a:chExt cx="0" cy="0"/>
        </a:xfrm>
      </p:grpSpPr>
      <p:sp>
        <p:nvSpPr>
          <p:cNvPr id="8" name="Rechteck 7"/>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4"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
        <p:nvSpPr>
          <p:cNvPr id="3" name="Datumsplatzhalter 2"/>
          <p:cNvSpPr>
            <a:spLocks noGrp="1"/>
          </p:cNvSpPr>
          <p:nvPr>
            <p:ph type="dt" sz="half" idx="10"/>
          </p:nvPr>
        </p:nvSpPr>
        <p:spPr/>
        <p:txBody>
          <a:bodyPr/>
          <a:lstStyle/>
          <a:p>
            <a:fld id="{BBFFFDA7-2DE8-4F39-AB3F-B81B5BD5873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8"/>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Tree>
    <p:extLst>
      <p:ext uri="{BB962C8B-B14F-4D97-AF65-F5344CB8AC3E}">
        <p14:creationId xmlns:p14="http://schemas.microsoft.com/office/powerpoint/2010/main" val="118683822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_Benefit">
    <p:spTree>
      <p:nvGrpSpPr>
        <p:cNvPr id="1" name=""/>
        <p:cNvGrpSpPr/>
        <p:nvPr/>
      </p:nvGrpSpPr>
      <p:grpSpPr>
        <a:xfrm>
          <a:off x="0" y="0"/>
          <a:ext cx="0" cy="0"/>
          <a:chOff x="0" y="0"/>
          <a:chExt cx="0" cy="0"/>
        </a:xfrm>
      </p:grpSpPr>
      <p:sp>
        <p:nvSpPr>
          <p:cNvPr id="10" name="Rechteck 9"/>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 name="Datumsplatzhalter 2"/>
          <p:cNvSpPr>
            <a:spLocks noGrp="1"/>
          </p:cNvSpPr>
          <p:nvPr>
            <p:ph type="dt" sz="half" idx="10"/>
          </p:nvPr>
        </p:nvSpPr>
        <p:spPr/>
        <p:txBody>
          <a:bodyPr/>
          <a:lstStyle/>
          <a:p>
            <a:fld id="{3B94A1E8-4866-4170-B4D9-42204AEAF7F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9"/>
            <a:ext cx="6408736" cy="295275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1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Tree>
    <p:extLst>
      <p:ext uri="{BB962C8B-B14F-4D97-AF65-F5344CB8AC3E}">
        <p14:creationId xmlns:p14="http://schemas.microsoft.com/office/powerpoint/2010/main" val="21519943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tandard_Triangle Picture_Benefit">
    <p:spTree>
      <p:nvGrpSpPr>
        <p:cNvPr id="1" name=""/>
        <p:cNvGrpSpPr/>
        <p:nvPr/>
      </p:nvGrpSpPr>
      <p:grpSpPr>
        <a:xfrm>
          <a:off x="0" y="0"/>
          <a:ext cx="0" cy="0"/>
          <a:chOff x="0" y="0"/>
          <a:chExt cx="0" cy="0"/>
        </a:xfrm>
      </p:grpSpPr>
      <p:sp>
        <p:nvSpPr>
          <p:cNvPr id="8" name="Rechteck 7"/>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 name="Datumsplatzhalter 2"/>
          <p:cNvSpPr>
            <a:spLocks noGrp="1"/>
          </p:cNvSpPr>
          <p:nvPr>
            <p:ph type="dt" sz="half" idx="10"/>
          </p:nvPr>
        </p:nvSpPr>
        <p:spPr/>
        <p:txBody>
          <a:bodyPr/>
          <a:lstStyle/>
          <a:p>
            <a:fld id="{3B94A1E8-4866-4170-B4D9-42204AEAF7F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1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Tree>
    <p:extLst>
      <p:ext uri="{BB962C8B-B14F-4D97-AF65-F5344CB8AC3E}">
        <p14:creationId xmlns:p14="http://schemas.microsoft.com/office/powerpoint/2010/main" val="1826666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_Text_Table top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5257F7C-0A34-4E56-B692-68218B4FBB05}"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2732404"/>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2732404"/>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2732404"/>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6964992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DF4FE13-BC48-4064-AD86-F63DCED346E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abellenplatzhalter 6"/>
          <p:cNvSpPr>
            <a:spLocks noGrp="1"/>
          </p:cNvSpPr>
          <p:nvPr>
            <p:ph type="tbl" sz="quarter" idx="13"/>
          </p:nvPr>
        </p:nvSpPr>
        <p:spPr>
          <a:xfrm>
            <a:off x="1403350" y="1563688"/>
            <a:ext cx="7489825" cy="3240087"/>
          </a:xfrm>
        </p:spPr>
        <p:txBody>
          <a:bodyPr anchor="ctr"/>
          <a:lstStyle>
            <a:lvl1pPr algn="ctr">
              <a:defRPr/>
            </a:lvl1pPr>
          </a:lstStyle>
          <a:p>
            <a:endParaRPr lang="en-US" dirty="0"/>
          </a:p>
        </p:txBody>
      </p:sp>
    </p:spTree>
    <p:extLst>
      <p:ext uri="{BB962C8B-B14F-4D97-AF65-F5344CB8AC3E}">
        <p14:creationId xmlns:p14="http://schemas.microsoft.com/office/powerpoint/2010/main" val="41269421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ckground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p>
            <a:pPr lvl="0"/>
            <a:r>
              <a:rPr lang="de-DE" dirty="0"/>
              <a:t>Textmasterformat bearbeiten</a:t>
            </a:r>
            <a:endParaRPr lang="en-US" dirty="0"/>
          </a:p>
        </p:txBody>
      </p:sp>
    </p:spTree>
    <p:extLst>
      <p:ext uri="{BB962C8B-B14F-4D97-AF65-F5344CB8AC3E}">
        <p14:creationId xmlns:p14="http://schemas.microsoft.com/office/powerpoint/2010/main" val="14878675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E495CBDD-7DA5-4682-B654-58CABA95666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Tree>
    <p:extLst>
      <p:ext uri="{BB962C8B-B14F-4D97-AF65-F5344CB8AC3E}">
        <p14:creationId xmlns:p14="http://schemas.microsoft.com/office/powerpoint/2010/main" val="335677868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Background_Benefit">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399"/>
          <a:stretch/>
        </p:blipFill>
        <p:spPr bwMode="auto">
          <a:xfrm>
            <a:off x="1354" y="432000"/>
            <a:ext cx="9141292" cy="47115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p>
            <a:pPr lvl="0"/>
            <a:r>
              <a:rPr lang="de-DE" dirty="0"/>
              <a:t>Textmasterformat bearbeiten</a:t>
            </a:r>
            <a:endParaRPr lang="en-US" dirty="0"/>
          </a:p>
        </p:txBody>
      </p:sp>
      <p:sp>
        <p:nvSpPr>
          <p:cNvPr id="11" name="Line 8"/>
          <p:cNvSpPr>
            <a:spLocks noChangeShapeType="1"/>
          </p:cNvSpPr>
          <p:nvPr/>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2"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spTree>
    <p:extLst>
      <p:ext uri="{BB962C8B-B14F-4D97-AF65-F5344CB8AC3E}">
        <p14:creationId xmlns:p14="http://schemas.microsoft.com/office/powerpoint/2010/main" val="35119238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ackground_Benefit_Backgroun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399"/>
          <a:stretch/>
        </p:blipFill>
        <p:spPr bwMode="auto">
          <a:xfrm>
            <a:off x="1354" y="432000"/>
            <a:ext cx="9141292" cy="4711500"/>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userDrawn="1"/>
        </p:nvSpPr>
        <p:spPr>
          <a:xfrm>
            <a:off x="2826504" y="915566"/>
            <a:ext cx="6065496" cy="392472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lvl1pPr>
              <a:defRPr sz="1000"/>
            </a:lvl1pPr>
          </a:lstStyle>
          <a:p>
            <a:pPr lvl="0"/>
            <a:r>
              <a:rPr lang="de-DE" dirty="0"/>
              <a:t>Textmasterformat bearbeiten</a:t>
            </a:r>
            <a:endParaRPr lang="en-US" dirty="0"/>
          </a:p>
        </p:txBody>
      </p:sp>
      <p:sp>
        <p:nvSpPr>
          <p:cNvPr id="11" name="Line 8"/>
          <p:cNvSpPr>
            <a:spLocks noChangeShapeType="1"/>
          </p:cNvSpPr>
          <p:nvPr/>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2"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spTree>
    <p:extLst>
      <p:ext uri="{BB962C8B-B14F-4D97-AF65-F5344CB8AC3E}">
        <p14:creationId xmlns:p14="http://schemas.microsoft.com/office/powerpoint/2010/main" val="30726971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aser_Hero Shot_1 Text Container_Red">
    <p:spTree>
      <p:nvGrpSpPr>
        <p:cNvPr id="1" name=""/>
        <p:cNvGrpSpPr/>
        <p:nvPr/>
      </p:nvGrpSpPr>
      <p:grpSpPr>
        <a:xfrm>
          <a:off x="0" y="0"/>
          <a:ext cx="0" cy="0"/>
          <a:chOff x="0" y="0"/>
          <a:chExt cx="0" cy="0"/>
        </a:xfrm>
      </p:grpSpPr>
      <p:sp>
        <p:nvSpPr>
          <p:cNvPr id="16" name="Rechteck 15"/>
          <p:cNvSpPr/>
          <p:nvPr userDrawn="1"/>
        </p:nvSpPr>
        <p:spPr>
          <a:xfrm>
            <a:off x="2339752" y="1368000"/>
            <a:ext cx="6804248"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uppieren 16"/>
          <p:cNvGrpSpPr/>
          <p:nvPr userDrawn="1"/>
        </p:nvGrpSpPr>
        <p:grpSpPr>
          <a:xfrm>
            <a:off x="2470150" y="4922730"/>
            <a:ext cx="6423024" cy="138036"/>
            <a:chOff x="2470150" y="4922730"/>
            <a:chExt cx="6423024" cy="138036"/>
          </a:xfrm>
        </p:grpSpPr>
        <p:sp>
          <p:nvSpPr>
            <p:cNvPr id="23"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6"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18" name="Freihandform 17"/>
          <p:cNvSpPr>
            <a:spLocks noChangeAspect="1"/>
          </p:cNvSpPr>
          <p:nvPr userDrawn="1"/>
        </p:nvSpPr>
        <p:spPr>
          <a:xfrm>
            <a:off x="1367644" y="1368000"/>
            <a:ext cx="1015445" cy="3776399"/>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100012 w 1014952"/>
              <a:gd name="connsiteY7"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386827 w 1014952"/>
              <a:gd name="connsiteY7" fmla="*/ 930323 h 4710113"/>
              <a:gd name="connsiteX8" fmla="*/ 100012 w 1014952"/>
              <a:gd name="connsiteY8" fmla="*/ 0 h 4710113"/>
              <a:gd name="connsiteX0" fmla="*/ 100012 w 1014952"/>
              <a:gd name="connsiteY0" fmla="*/ 0 h 4710113"/>
              <a:gd name="connsiteX1" fmla="*/ 885825 w 1014952"/>
              <a:gd name="connsiteY1" fmla="*/ 0 h 4710113"/>
              <a:gd name="connsiteX2" fmla="*/ 1014952 w 1014952"/>
              <a:gd name="connsiteY2" fmla="*/ 930323 h 4710113"/>
              <a:gd name="connsiteX3" fmla="*/ 1014412 w 1014952"/>
              <a:gd name="connsiteY3" fmla="*/ 4710113 h 4710113"/>
              <a:gd name="connsiteX4" fmla="*/ 0 w 1014952"/>
              <a:gd name="connsiteY4" fmla="*/ 4710113 h 4710113"/>
              <a:gd name="connsiteX5" fmla="*/ 952500 w 1014952"/>
              <a:gd name="connsiteY5" fmla="*/ 2776538 h 4710113"/>
              <a:gd name="connsiteX6" fmla="*/ 386827 w 1014952"/>
              <a:gd name="connsiteY6" fmla="*/ 930323 h 4710113"/>
              <a:gd name="connsiteX7" fmla="*/ 100012 w 1014952"/>
              <a:gd name="connsiteY7" fmla="*/ 0 h 4710113"/>
              <a:gd name="connsiteX0" fmla="*/ 100012 w 1014952"/>
              <a:gd name="connsiteY0" fmla="*/ 0 h 4710113"/>
              <a:gd name="connsiteX1" fmla="*/ 1014952 w 1014952"/>
              <a:gd name="connsiteY1" fmla="*/ 930323 h 4710113"/>
              <a:gd name="connsiteX2" fmla="*/ 1014412 w 1014952"/>
              <a:gd name="connsiteY2" fmla="*/ 4710113 h 4710113"/>
              <a:gd name="connsiteX3" fmla="*/ 0 w 1014952"/>
              <a:gd name="connsiteY3" fmla="*/ 4710113 h 4710113"/>
              <a:gd name="connsiteX4" fmla="*/ 952500 w 1014952"/>
              <a:gd name="connsiteY4" fmla="*/ 2776538 h 4710113"/>
              <a:gd name="connsiteX5" fmla="*/ 386827 w 1014952"/>
              <a:gd name="connsiteY5" fmla="*/ 930323 h 4710113"/>
              <a:gd name="connsiteX6" fmla="*/ 100012 w 1014952"/>
              <a:gd name="connsiteY6" fmla="*/ 0 h 4710113"/>
              <a:gd name="connsiteX0" fmla="*/ 386827 w 1014952"/>
              <a:gd name="connsiteY0" fmla="*/ 0 h 3779790"/>
              <a:gd name="connsiteX1" fmla="*/ 1014952 w 1014952"/>
              <a:gd name="connsiteY1" fmla="*/ 0 h 3779790"/>
              <a:gd name="connsiteX2" fmla="*/ 1014412 w 1014952"/>
              <a:gd name="connsiteY2" fmla="*/ 3779790 h 3779790"/>
              <a:gd name="connsiteX3" fmla="*/ 0 w 1014952"/>
              <a:gd name="connsiteY3" fmla="*/ 3779790 h 3779790"/>
              <a:gd name="connsiteX4" fmla="*/ 952500 w 1014952"/>
              <a:gd name="connsiteY4" fmla="*/ 1846215 h 3779790"/>
              <a:gd name="connsiteX5" fmla="*/ 386827 w 1014952"/>
              <a:gd name="connsiteY5" fmla="*/ 0 h 37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952" h="3779790">
                <a:moveTo>
                  <a:pt x="386827" y="0"/>
                </a:moveTo>
                <a:lnTo>
                  <a:pt x="1014952" y="0"/>
                </a:lnTo>
                <a:lnTo>
                  <a:pt x="1014412" y="3779790"/>
                </a:lnTo>
                <a:lnTo>
                  <a:pt x="0" y="3779790"/>
                </a:lnTo>
                <a:lnTo>
                  <a:pt x="952500" y="1846215"/>
                </a:lnTo>
                <a:lnTo>
                  <a:pt x="3868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atumsplatzhalter 2"/>
          <p:cNvSpPr>
            <a:spLocks noGrp="1"/>
          </p:cNvSpPr>
          <p:nvPr userDrawn="1">
            <p:ph type="dt" sz="half" idx="10"/>
          </p:nvPr>
        </p:nvSpPr>
        <p:spPr/>
        <p:txBody>
          <a:bodyPr/>
          <a:lstStyle>
            <a:lvl1pPr>
              <a:defRPr>
                <a:solidFill>
                  <a:schemeClr val="bg1"/>
                </a:solidFill>
              </a:defRPr>
            </a:lvl1pPr>
          </a:lstStyle>
          <a:p>
            <a:fld id="{7C896B75-6883-4F39-8354-ED7F292F5BB2}"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userDrawn="1">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userDrawn="1">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sp>
        <p:nvSpPr>
          <p:cNvPr id="13" name="Textplatzhalter 12"/>
          <p:cNvSpPr>
            <a:spLocks noGrp="1"/>
          </p:cNvSpPr>
          <p:nvPr userDrawn="1">
            <p:ph type="body" sz="quarter" idx="13"/>
          </p:nvPr>
        </p:nvSpPr>
        <p:spPr>
          <a:xfrm>
            <a:off x="3203848" y="2067694"/>
            <a:ext cx="5689326" cy="2736080"/>
          </a:xfrm>
        </p:spPr>
        <p:txBody>
          <a:bodyPr>
            <a:normAutofit/>
          </a:bodyPr>
          <a:lstStyle>
            <a:lvl1pPr>
              <a:defRPr lang="de-DE" sz="1600" b="1" kern="1200" dirty="0" smtClean="0">
                <a:solidFill>
                  <a:schemeClr val="bg1"/>
                </a:solidFill>
                <a:latin typeface="+mn-lt"/>
                <a:ea typeface="+mn-ea"/>
                <a:cs typeface="+mn-cs"/>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2" name="Titel 1"/>
          <p:cNvSpPr>
            <a:spLocks noGrp="1"/>
          </p:cNvSpPr>
          <p:nvPr userDrawn="1">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Tree>
    <p:extLst>
      <p:ext uri="{BB962C8B-B14F-4D97-AF65-F5344CB8AC3E}">
        <p14:creationId xmlns:p14="http://schemas.microsoft.com/office/powerpoint/2010/main" val="15727515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easer_Triangle  Picture_1 Text Container_Benefit_Red">
    <p:spTree>
      <p:nvGrpSpPr>
        <p:cNvPr id="1" name=""/>
        <p:cNvGrpSpPr/>
        <p:nvPr/>
      </p:nvGrpSpPr>
      <p:grpSpPr>
        <a:xfrm>
          <a:off x="0" y="0"/>
          <a:ext cx="0" cy="0"/>
          <a:chOff x="0" y="0"/>
          <a:chExt cx="0" cy="0"/>
        </a:xfrm>
      </p:grpSpPr>
      <p:sp>
        <p:nvSpPr>
          <p:cNvPr id="13" name="Rechteck 12"/>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
        <p:nvSpPr>
          <p:cNvPr id="16" name="Rechteck 15"/>
          <p:cNvSpPr/>
          <p:nvPr userDrawn="1"/>
        </p:nvSpPr>
        <p:spPr>
          <a:xfrm>
            <a:off x="2339752" y="1368000"/>
            <a:ext cx="6804248"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uppieren 17"/>
          <p:cNvGrpSpPr/>
          <p:nvPr userDrawn="1"/>
        </p:nvGrpSpPr>
        <p:grpSpPr>
          <a:xfrm>
            <a:off x="2470150" y="4922730"/>
            <a:ext cx="6423024" cy="138036"/>
            <a:chOff x="2470150" y="4922730"/>
            <a:chExt cx="6423024" cy="138036"/>
          </a:xfrm>
        </p:grpSpPr>
        <p:sp>
          <p:nvSpPr>
            <p:cNvPr id="19"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0"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3" name="Datumsplatzhalter 2"/>
          <p:cNvSpPr>
            <a:spLocks noGrp="1"/>
          </p:cNvSpPr>
          <p:nvPr userDrawn="1">
            <p:ph type="dt" sz="half" idx="10"/>
          </p:nvPr>
        </p:nvSpPr>
        <p:spPr/>
        <p:txBody>
          <a:bodyPr/>
          <a:lstStyle>
            <a:lvl1pPr>
              <a:defRPr>
                <a:solidFill>
                  <a:schemeClr val="bg1"/>
                </a:solidFill>
              </a:defRPr>
            </a:lvl1pPr>
          </a:lstStyle>
          <a:p>
            <a:fld id="{01C9B80A-7BE0-4538-9A16-E9BE6396CC02}"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userDrawn="1">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userDrawn="1">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sp>
        <p:nvSpPr>
          <p:cNvPr id="7" name="Textplatzhalter 6"/>
          <p:cNvSpPr>
            <a:spLocks noGrp="1"/>
          </p:cNvSpPr>
          <p:nvPr userDrawn="1">
            <p:ph type="body" sz="quarter" idx="13"/>
          </p:nvPr>
        </p:nvSpPr>
        <p:spPr>
          <a:xfrm>
            <a:off x="3204000" y="2066400"/>
            <a:ext cx="5688000" cy="2736000"/>
          </a:xfrm>
        </p:spPr>
        <p:txBody>
          <a:bodyPr>
            <a:normAutofit/>
          </a:bodyPr>
          <a:lstStyle>
            <a:lvl1pPr>
              <a:defRPr sz="1600">
                <a:solidFill>
                  <a:schemeClr val="bg1"/>
                </a:solidFill>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userDrawn="1">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22" name="Freihandform 21"/>
          <p:cNvSpPr>
            <a:spLocks noChangeAspect="1"/>
          </p:cNvSpPr>
          <p:nvPr userDrawn="1"/>
        </p:nvSpPr>
        <p:spPr>
          <a:xfrm>
            <a:off x="1367644" y="1368000"/>
            <a:ext cx="1015445" cy="3776399"/>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100012 w 1014952"/>
              <a:gd name="connsiteY7"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386827 w 1014952"/>
              <a:gd name="connsiteY7" fmla="*/ 930323 h 4710113"/>
              <a:gd name="connsiteX8" fmla="*/ 100012 w 1014952"/>
              <a:gd name="connsiteY8" fmla="*/ 0 h 4710113"/>
              <a:gd name="connsiteX0" fmla="*/ 100012 w 1014952"/>
              <a:gd name="connsiteY0" fmla="*/ 0 h 4710113"/>
              <a:gd name="connsiteX1" fmla="*/ 885825 w 1014952"/>
              <a:gd name="connsiteY1" fmla="*/ 0 h 4710113"/>
              <a:gd name="connsiteX2" fmla="*/ 1014952 w 1014952"/>
              <a:gd name="connsiteY2" fmla="*/ 930323 h 4710113"/>
              <a:gd name="connsiteX3" fmla="*/ 1014412 w 1014952"/>
              <a:gd name="connsiteY3" fmla="*/ 4710113 h 4710113"/>
              <a:gd name="connsiteX4" fmla="*/ 0 w 1014952"/>
              <a:gd name="connsiteY4" fmla="*/ 4710113 h 4710113"/>
              <a:gd name="connsiteX5" fmla="*/ 952500 w 1014952"/>
              <a:gd name="connsiteY5" fmla="*/ 2776538 h 4710113"/>
              <a:gd name="connsiteX6" fmla="*/ 386827 w 1014952"/>
              <a:gd name="connsiteY6" fmla="*/ 930323 h 4710113"/>
              <a:gd name="connsiteX7" fmla="*/ 100012 w 1014952"/>
              <a:gd name="connsiteY7" fmla="*/ 0 h 4710113"/>
              <a:gd name="connsiteX0" fmla="*/ 100012 w 1014952"/>
              <a:gd name="connsiteY0" fmla="*/ 0 h 4710113"/>
              <a:gd name="connsiteX1" fmla="*/ 1014952 w 1014952"/>
              <a:gd name="connsiteY1" fmla="*/ 930323 h 4710113"/>
              <a:gd name="connsiteX2" fmla="*/ 1014412 w 1014952"/>
              <a:gd name="connsiteY2" fmla="*/ 4710113 h 4710113"/>
              <a:gd name="connsiteX3" fmla="*/ 0 w 1014952"/>
              <a:gd name="connsiteY3" fmla="*/ 4710113 h 4710113"/>
              <a:gd name="connsiteX4" fmla="*/ 952500 w 1014952"/>
              <a:gd name="connsiteY4" fmla="*/ 2776538 h 4710113"/>
              <a:gd name="connsiteX5" fmla="*/ 386827 w 1014952"/>
              <a:gd name="connsiteY5" fmla="*/ 930323 h 4710113"/>
              <a:gd name="connsiteX6" fmla="*/ 100012 w 1014952"/>
              <a:gd name="connsiteY6" fmla="*/ 0 h 4710113"/>
              <a:gd name="connsiteX0" fmla="*/ 386827 w 1014952"/>
              <a:gd name="connsiteY0" fmla="*/ 0 h 3779790"/>
              <a:gd name="connsiteX1" fmla="*/ 1014952 w 1014952"/>
              <a:gd name="connsiteY1" fmla="*/ 0 h 3779790"/>
              <a:gd name="connsiteX2" fmla="*/ 1014412 w 1014952"/>
              <a:gd name="connsiteY2" fmla="*/ 3779790 h 3779790"/>
              <a:gd name="connsiteX3" fmla="*/ 0 w 1014952"/>
              <a:gd name="connsiteY3" fmla="*/ 3779790 h 3779790"/>
              <a:gd name="connsiteX4" fmla="*/ 952500 w 1014952"/>
              <a:gd name="connsiteY4" fmla="*/ 1846215 h 3779790"/>
              <a:gd name="connsiteX5" fmla="*/ 386827 w 1014952"/>
              <a:gd name="connsiteY5" fmla="*/ 0 h 37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952" h="3779790">
                <a:moveTo>
                  <a:pt x="386827" y="0"/>
                </a:moveTo>
                <a:lnTo>
                  <a:pt x="1014952" y="0"/>
                </a:lnTo>
                <a:lnTo>
                  <a:pt x="1014412" y="3779790"/>
                </a:lnTo>
                <a:lnTo>
                  <a:pt x="0" y="3779790"/>
                </a:lnTo>
                <a:lnTo>
                  <a:pt x="952500" y="1846215"/>
                </a:lnTo>
                <a:lnTo>
                  <a:pt x="3868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770998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aser_1 Text Container_Benefits">
    <p:spTree>
      <p:nvGrpSpPr>
        <p:cNvPr id="1" name=""/>
        <p:cNvGrpSpPr/>
        <p:nvPr/>
      </p:nvGrpSpPr>
      <p:grpSpPr>
        <a:xfrm>
          <a:off x="0" y="0"/>
          <a:ext cx="0" cy="0"/>
          <a:chOff x="0" y="0"/>
          <a:chExt cx="0" cy="0"/>
        </a:xfrm>
      </p:grpSpPr>
      <p:grpSp>
        <p:nvGrpSpPr>
          <p:cNvPr id="8" name="Gruppieren 7"/>
          <p:cNvGrpSpPr/>
          <p:nvPr userDrawn="1"/>
        </p:nvGrpSpPr>
        <p:grpSpPr>
          <a:xfrm>
            <a:off x="0" y="1368000"/>
            <a:ext cx="9144000" cy="3775500"/>
            <a:chOff x="0" y="1368000"/>
            <a:chExt cx="9144000" cy="3775500"/>
          </a:xfrm>
        </p:grpSpPr>
        <p:sp>
          <p:nvSpPr>
            <p:cNvPr id="7" name="Rechteck 6"/>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grpSp>
      <p:sp>
        <p:nvSpPr>
          <p:cNvPr id="2" name="Titel 1"/>
          <p:cNvSpPr>
            <a:spLocks noGrp="1"/>
          </p:cNvSpPr>
          <p:nvPr>
            <p:ph type="title"/>
          </p:nvPr>
        </p:nvSpPr>
        <p:spPr>
          <a:solidFill>
            <a:schemeClr val="bg1"/>
          </a:solidFill>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lvl1pPr>
              <a:defRPr>
                <a:solidFill>
                  <a:schemeClr val="bg1"/>
                </a:solidFill>
              </a:defRPr>
            </a:lvl1pPr>
          </a:lstStyle>
          <a:p>
            <a:fld id="{13B00D1E-A7D3-4BC9-B1E1-2A1B94616637}"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sp>
        <p:nvSpPr>
          <p:cNvPr id="13" name="Textplatzhalter 12"/>
          <p:cNvSpPr>
            <a:spLocks noGrp="1"/>
          </p:cNvSpPr>
          <p:nvPr>
            <p:ph type="body" sz="quarter" idx="13"/>
          </p:nvPr>
        </p:nvSpPr>
        <p:spPr>
          <a:xfrm>
            <a:off x="1403349" y="1563687"/>
            <a:ext cx="7489825" cy="324008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759682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2738AE4-29B7-4E04-A726-8DB5AD38752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8" name="Textplatzhalter 6"/>
          <p:cNvSpPr>
            <a:spLocks noGrp="1"/>
          </p:cNvSpPr>
          <p:nvPr>
            <p:ph type="body" sz="quarter" idx="14"/>
          </p:nvPr>
        </p:nvSpPr>
        <p:spPr>
          <a:xfrm>
            <a:off x="4681175" y="1562401"/>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9" name="Textplatzhalter 6"/>
          <p:cNvSpPr>
            <a:spLocks noGrp="1"/>
          </p:cNvSpPr>
          <p:nvPr>
            <p:ph type="body" sz="quarter" idx="15"/>
          </p:nvPr>
        </p:nvSpPr>
        <p:spPr>
          <a:xfrm>
            <a:off x="323528"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6"/>
          </p:nvPr>
        </p:nvSpPr>
        <p:spPr>
          <a:xfrm>
            <a:off x="4680854"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11837686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aser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F5AB70A-1D16-4D29-AA24-5E50C34F6DEA}"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marL="0" indent="0">
              <a:buClr>
                <a:schemeClr val="bg1"/>
              </a:buClr>
              <a:buFont typeface="Wingdings" panose="05000000000000000000" pitchFamily="2" charset="2"/>
              <a:buNone/>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a:p>
            <a:pPr lvl="0"/>
            <a:endParaRPr lang="de-DE" dirty="0"/>
          </a:p>
        </p:txBody>
      </p:sp>
    </p:spTree>
    <p:extLst>
      <p:ext uri="{BB962C8B-B14F-4D97-AF65-F5344CB8AC3E}">
        <p14:creationId xmlns:p14="http://schemas.microsoft.com/office/powerpoint/2010/main" val="3553880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_Text_Table top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CA40FEF5-F330-4ED9-BA06-481D9B29C289}"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2732404"/>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0000" y="2732404"/>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0659418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aser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97AE8E97-3453-4F5C-A5CA-A05E923B7EC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295275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6324671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D9E1675-7FFE-4BBE-BD27-1B612372515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3000396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aser_2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463F8B5-9E2A-40EB-8DDA-9D5528F3732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41148748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aser_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A810F08-0CEA-45AD-83DA-D5802F4ADEF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7216074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sclaimer_DE">
    <p:spTree>
      <p:nvGrpSpPr>
        <p:cNvPr id="1" name=""/>
        <p:cNvGrpSpPr/>
        <p:nvPr/>
      </p:nvGrpSpPr>
      <p:grpSpPr>
        <a:xfrm>
          <a:off x="0" y="0"/>
          <a:ext cx="0" cy="0"/>
          <a:chOff x="0" y="0"/>
          <a:chExt cx="0" cy="0"/>
        </a:xfrm>
      </p:grpSpPr>
      <p:sp>
        <p:nvSpPr>
          <p:cNvPr id="6" name="Rechteck 5"/>
          <p:cNvSpPr/>
          <p:nvPr userDrawn="1"/>
        </p:nvSpPr>
        <p:spPr>
          <a:xfrm>
            <a:off x="1" y="432000"/>
            <a:ext cx="9143999" cy="4711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feld 6"/>
          <p:cNvSpPr txBox="1"/>
          <p:nvPr userDrawn="1"/>
        </p:nvSpPr>
        <p:spPr>
          <a:xfrm>
            <a:off x="1522" y="432000"/>
            <a:ext cx="9144000" cy="936000"/>
          </a:xfrm>
          <a:prstGeom prst="rect">
            <a:avLst/>
          </a:prstGeom>
          <a:solidFill>
            <a:schemeClr val="bg1"/>
          </a:solidFill>
        </p:spPr>
        <p:txBody>
          <a:bodyPr vert="horz" lIns="324000" tIns="45720" rIns="91440" bIns="45720" rtlCol="0" anchor="ctr">
            <a:normAutofit/>
          </a:bodyPr>
          <a:lstStyle>
            <a:lvl1pPr>
              <a:spcBef>
                <a:spcPct val="0"/>
              </a:spcBef>
              <a:buNone/>
              <a:defRPr b="1">
                <a:solidFill>
                  <a:schemeClr val="bg1"/>
                </a:solidFill>
                <a:latin typeface="+mj-lt"/>
                <a:ea typeface="+mj-ea"/>
                <a:cs typeface="+mj-cs"/>
              </a:defRPr>
            </a:lvl1pPr>
          </a:lstStyle>
          <a:p>
            <a:r>
              <a:rPr lang="de-DE" dirty="0">
                <a:solidFill>
                  <a:srgbClr val="000000"/>
                </a:solidFill>
              </a:rPr>
              <a:t>Rechtliche Hinweise</a:t>
            </a:r>
            <a:endParaRPr lang="en-US" dirty="0">
              <a:solidFill>
                <a:srgbClr val="000000"/>
              </a:solidFill>
            </a:endParaRPr>
          </a:p>
        </p:txBody>
      </p:sp>
      <p:sp>
        <p:nvSpPr>
          <p:cNvPr id="3" name="Datumsplatzhalter 2"/>
          <p:cNvSpPr>
            <a:spLocks noGrp="1"/>
          </p:cNvSpPr>
          <p:nvPr>
            <p:ph type="dt" sz="half" idx="10"/>
          </p:nvPr>
        </p:nvSpPr>
        <p:spPr/>
        <p:txBody>
          <a:bodyPr/>
          <a:lstStyle>
            <a:lvl1pPr>
              <a:defRPr>
                <a:solidFill>
                  <a:schemeClr val="bg1"/>
                </a:solidFill>
              </a:defRPr>
            </a:lvl1pPr>
          </a:lstStyle>
          <a:p>
            <a:fld id="{0886C42A-D266-4E2E-9315-003B4E0EF922}"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grpSp>
        <p:nvGrpSpPr>
          <p:cNvPr id="8" name="Gruppieren 7"/>
          <p:cNvGrpSpPr/>
          <p:nvPr userDrawn="1"/>
        </p:nvGrpSpPr>
        <p:grpSpPr>
          <a:xfrm>
            <a:off x="2470150" y="4922730"/>
            <a:ext cx="6423024" cy="138036"/>
            <a:chOff x="2470150" y="4922730"/>
            <a:chExt cx="6423024" cy="138036"/>
          </a:xfrm>
        </p:grpSpPr>
        <p:sp>
          <p:nvSpPr>
            <p:cNvPr id="9" name="Line 8"/>
            <p:cNvSpPr>
              <a:spLocks noChangeShapeType="1"/>
            </p:cNvSpPr>
            <p:nvPr userDrawn="1"/>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0" name="Line 8"/>
            <p:cNvSpPr>
              <a:spLocks noChangeShapeType="1"/>
            </p:cNvSpPr>
            <p:nvPr userDrawn="1"/>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12" name="Textfeld 11"/>
          <p:cNvSpPr txBox="1"/>
          <p:nvPr userDrawn="1"/>
        </p:nvSpPr>
        <p:spPr>
          <a:xfrm>
            <a:off x="0" y="1564854"/>
            <a:ext cx="8893174" cy="3046988"/>
          </a:xfrm>
          <a:prstGeom prst="rect">
            <a:avLst/>
          </a:prstGeom>
        </p:spPr>
        <p:txBody>
          <a:bodyPr vert="horz" lIns="324000" tIns="0" rIns="0" bIns="0" rtlCol="0">
            <a:normAutofit/>
          </a:bodyPr>
          <a:lstStyle>
            <a:lvl1pPr indent="0">
              <a:spcBef>
                <a:spcPts val="1800"/>
              </a:spcBef>
              <a:spcAft>
                <a:spcPts val="450"/>
              </a:spcAft>
              <a:buFont typeface="Arial" panose="020B0604020202020204" pitchFamily="34" charset="0"/>
              <a:buNone/>
              <a:defRPr sz="1200" b="1">
                <a:solidFill>
                  <a:schemeClr val="accent1"/>
                </a:solidFill>
                <a:effectLst/>
              </a:defRPr>
            </a:lvl1pPr>
            <a:lvl2pPr marL="0" indent="0">
              <a:spcBef>
                <a:spcPts val="450"/>
              </a:spcBef>
              <a:buFont typeface="+mj-lt"/>
              <a:buNone/>
              <a:defRPr sz="1100" b="1"/>
            </a:lvl2pPr>
            <a:lvl3pPr marL="0" lvl="2" indent="0">
              <a:spcBef>
                <a:spcPts val="360"/>
              </a:spcBef>
              <a:spcAft>
                <a:spcPts val="600"/>
              </a:spcAft>
              <a:buClr>
                <a:schemeClr val="accent2"/>
              </a:buClr>
              <a:buSzPct val="80000"/>
              <a:buFont typeface="Wingdings" panose="05000000000000000000" pitchFamily="2" charset="2"/>
              <a:buNone/>
              <a:defRPr sz="1200">
                <a:solidFill>
                  <a:schemeClr val="bg1"/>
                </a:solidFill>
                <a:effectLst/>
                <a:ea typeface="Calibri"/>
                <a:cs typeface="Times New Roman"/>
              </a:defRPr>
            </a:lvl3pPr>
            <a:lvl4pPr marL="273600" indent="-136800">
              <a:spcBef>
                <a:spcPts val="360"/>
              </a:spcBef>
              <a:buClr>
                <a:schemeClr val="accent2"/>
              </a:buClr>
              <a:buSzPct val="80000"/>
              <a:buFont typeface="Wingdings" panose="05000000000000000000" pitchFamily="2" charset="2"/>
              <a:buChar char="§"/>
              <a:tabLst/>
              <a:defRPr sz="1200"/>
            </a:lvl4pPr>
            <a:lvl5pPr marL="410400" indent="-136800">
              <a:spcBef>
                <a:spcPts val="360"/>
              </a:spcBef>
              <a:buClr>
                <a:schemeClr val="accent2"/>
              </a:buClr>
              <a:buSzPct val="80000"/>
              <a:buFont typeface="Wingdings" panose="05000000000000000000" pitchFamily="2" charset="2"/>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buClr>
                <a:srgbClr val="97A0A5"/>
              </a:buClr>
            </a:pPr>
            <a:r>
              <a:rPr lang="de-DE" dirty="0">
                <a:solidFill>
                  <a:prstClr val="white"/>
                </a:solidFill>
              </a:rPr>
              <a:t>Diese Präsentation wurde von ASM Assembly Systems (im Folgenden „ASM AS“ genannt) exklusiv und ausschließlich für die interne Verwendung vonseiten des Empfängers erstellt und beinhaltet keinerlei Rechte zur Veröffentlichung oder Weitergabe an Dritte. Dieses Dokument stellt keine Kaufaufforderung dar und ist nicht als Angebot zu verstehen. Weder die Präsentation, noch ihr Inhalt darf ohne die ausdrückliche Zustimmung von ASM AS für andere Zwecke verwendet werden. </a:t>
            </a:r>
            <a:endParaRPr lang="en-US" sz="1100" dirty="0">
              <a:solidFill>
                <a:prstClr val="white"/>
              </a:solidFill>
              <a:latin typeface="Calibri"/>
            </a:endParaRPr>
          </a:p>
          <a:p>
            <a:pPr lvl="2">
              <a:buClr>
                <a:srgbClr val="97A0A5"/>
              </a:buClr>
            </a:pPr>
            <a:r>
              <a:rPr lang="de-DE">
                <a:solidFill>
                  <a:prstClr val="white"/>
                </a:solidFill>
              </a:rPr>
              <a:t>Der </a:t>
            </a:r>
            <a:r>
              <a:rPr lang="de-DE" dirty="0">
                <a:solidFill>
                  <a:prstClr val="white"/>
                </a:solidFill>
              </a:rPr>
              <a:t>Inhalt der Präsentation bezieht sich – nach unserem besten Wissen – auf die derzeit bestehenden Konditionen; Änderungen sind vorbehalten. Bei der Ausarbeitung der Präsentation hat ASM AS ohne unabhängige Prüfung auf die Vollständigkeit und Richtigkeit aller öffentlichen und sonstigen externen Quellen vertraut. Es kann keinerlei (implizite oder explizite) Garantie übernommen werden bezüglich der Richtigkeit und Vollständigkeit dieser Veröffentlichung und ASM AS, seine Vorstände, Mitarbeiter, Vertreter und Handelsvertreter tragen – im gesetzlichen Rahmen –  keinerlei Verpflichtung, Verantwortung oder Sorge für jedwede Konsequenz fremden Handelns oder dessen Unterlassen, das sich auf die Informationen in dieser Präsentation bezieht, noch für jegliche Entscheidung, die mit ihrer Hilfe getroffen wird.</a:t>
            </a:r>
            <a:endParaRPr lang="en-US" sz="1100" dirty="0">
              <a:solidFill>
                <a:prstClr val="white"/>
              </a:solidFill>
              <a:latin typeface="Calibri"/>
            </a:endParaRPr>
          </a:p>
          <a:p>
            <a:pPr lvl="2">
              <a:buClr>
                <a:srgbClr val="97A0A5"/>
              </a:buClr>
            </a:pPr>
            <a:r>
              <a:rPr lang="de-DE" b="1" dirty="0">
                <a:solidFill>
                  <a:prstClr val="white"/>
                </a:solidFill>
              </a:rPr>
              <a:t>© 2016 ASM AS</a:t>
            </a:r>
            <a:r>
              <a:rPr lang="de-DE" dirty="0">
                <a:solidFill>
                  <a:prstClr val="white"/>
                </a:solidFill>
              </a:rPr>
              <a:t>. Alle Rechte vorbehalten. Teile dieser Veröffentlichung dürfen nicht dupliziert, gesichert oder weitergegeben werden, weder durch elektronische oder gedruckte Medien, Fotokopien, Aufzeichnungen oder sonstige Mittel, ohne die ausdrückliche schriftliche Zustimmung von ASM AS.</a:t>
            </a:r>
            <a:endParaRPr lang="en-US" sz="1100" dirty="0">
              <a:solidFill>
                <a:prstClr val="white"/>
              </a:solidFill>
              <a:latin typeface="Calibri"/>
            </a:endParaRPr>
          </a:p>
        </p:txBody>
      </p:sp>
    </p:spTree>
    <p:extLst>
      <p:ext uri="{BB962C8B-B14F-4D97-AF65-F5344CB8AC3E}">
        <p14:creationId xmlns:p14="http://schemas.microsoft.com/office/powerpoint/2010/main" val="2642746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sclaimer_EN">
    <p:spTree>
      <p:nvGrpSpPr>
        <p:cNvPr id="1" name=""/>
        <p:cNvGrpSpPr/>
        <p:nvPr/>
      </p:nvGrpSpPr>
      <p:grpSpPr>
        <a:xfrm>
          <a:off x="0" y="0"/>
          <a:ext cx="0" cy="0"/>
          <a:chOff x="0" y="0"/>
          <a:chExt cx="0" cy="0"/>
        </a:xfrm>
      </p:grpSpPr>
      <p:sp>
        <p:nvSpPr>
          <p:cNvPr id="6" name="Rechteck 5"/>
          <p:cNvSpPr/>
          <p:nvPr userDrawn="1"/>
        </p:nvSpPr>
        <p:spPr>
          <a:xfrm>
            <a:off x="1" y="432000"/>
            <a:ext cx="9143999" cy="4711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atumsplatzhalter 2"/>
          <p:cNvSpPr>
            <a:spLocks noGrp="1"/>
          </p:cNvSpPr>
          <p:nvPr>
            <p:ph type="dt" sz="half" idx="10"/>
          </p:nvPr>
        </p:nvSpPr>
        <p:spPr/>
        <p:txBody>
          <a:bodyPr/>
          <a:lstStyle>
            <a:lvl1pPr>
              <a:defRPr>
                <a:solidFill>
                  <a:schemeClr val="bg1"/>
                </a:solidFill>
              </a:defRPr>
            </a:lvl1pPr>
          </a:lstStyle>
          <a:p>
            <a:fld id="{A9F99225-EA4F-448F-8A51-78A5810CD6EF}"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grpSp>
        <p:nvGrpSpPr>
          <p:cNvPr id="8" name="Gruppieren 7"/>
          <p:cNvGrpSpPr/>
          <p:nvPr userDrawn="1"/>
        </p:nvGrpSpPr>
        <p:grpSpPr>
          <a:xfrm>
            <a:off x="2470150" y="4922730"/>
            <a:ext cx="6423024" cy="138036"/>
            <a:chOff x="2470150" y="4922730"/>
            <a:chExt cx="6423024" cy="138036"/>
          </a:xfrm>
        </p:grpSpPr>
        <p:sp>
          <p:nvSpPr>
            <p:cNvPr id="9" name="Line 8"/>
            <p:cNvSpPr>
              <a:spLocks noChangeShapeType="1"/>
            </p:cNvSpPr>
            <p:nvPr userDrawn="1"/>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0" name="Line 8"/>
            <p:cNvSpPr>
              <a:spLocks noChangeShapeType="1"/>
            </p:cNvSpPr>
            <p:nvPr userDrawn="1"/>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12" name="Textfeld 11"/>
          <p:cNvSpPr txBox="1"/>
          <p:nvPr userDrawn="1"/>
        </p:nvSpPr>
        <p:spPr>
          <a:xfrm>
            <a:off x="0" y="1564854"/>
            <a:ext cx="8893174" cy="3046988"/>
          </a:xfrm>
          <a:prstGeom prst="rect">
            <a:avLst/>
          </a:prstGeom>
        </p:spPr>
        <p:txBody>
          <a:bodyPr vert="horz" lIns="324000" tIns="0" rIns="0" bIns="0" rtlCol="0">
            <a:normAutofit/>
          </a:bodyPr>
          <a:lstStyle>
            <a:lvl1pPr indent="0">
              <a:spcBef>
                <a:spcPts val="1800"/>
              </a:spcBef>
              <a:spcAft>
                <a:spcPts val="450"/>
              </a:spcAft>
              <a:buFont typeface="Arial" panose="020B0604020202020204" pitchFamily="34" charset="0"/>
              <a:buNone/>
              <a:defRPr sz="1200" b="1">
                <a:solidFill>
                  <a:schemeClr val="accent1"/>
                </a:solidFill>
                <a:effectLst/>
              </a:defRPr>
            </a:lvl1pPr>
            <a:lvl2pPr marL="0" indent="0">
              <a:spcBef>
                <a:spcPts val="450"/>
              </a:spcBef>
              <a:buFont typeface="+mj-lt"/>
              <a:buNone/>
              <a:defRPr sz="1100" b="1"/>
            </a:lvl2pPr>
            <a:lvl3pPr marL="0" lvl="2" indent="0">
              <a:spcBef>
                <a:spcPts val="360"/>
              </a:spcBef>
              <a:spcAft>
                <a:spcPts val="600"/>
              </a:spcAft>
              <a:buClr>
                <a:schemeClr val="accent2"/>
              </a:buClr>
              <a:buSzPct val="80000"/>
              <a:buFont typeface="Wingdings" panose="05000000000000000000" pitchFamily="2" charset="2"/>
              <a:buNone/>
              <a:defRPr sz="1200">
                <a:solidFill>
                  <a:schemeClr val="bg1"/>
                </a:solidFill>
                <a:effectLst/>
                <a:ea typeface="Calibri"/>
                <a:cs typeface="Times New Roman"/>
              </a:defRPr>
            </a:lvl3pPr>
            <a:lvl4pPr marL="273600" indent="-136800">
              <a:spcBef>
                <a:spcPts val="360"/>
              </a:spcBef>
              <a:buClr>
                <a:schemeClr val="accent2"/>
              </a:buClr>
              <a:buSzPct val="80000"/>
              <a:buFont typeface="Wingdings" panose="05000000000000000000" pitchFamily="2" charset="2"/>
              <a:buChar char="§"/>
              <a:tabLst/>
              <a:defRPr sz="1200"/>
            </a:lvl4pPr>
            <a:lvl5pPr marL="410400" indent="-136800">
              <a:spcBef>
                <a:spcPts val="360"/>
              </a:spcBef>
              <a:buClr>
                <a:schemeClr val="accent2"/>
              </a:buClr>
              <a:buSzPct val="80000"/>
              <a:buFont typeface="Wingdings" panose="05000000000000000000" pitchFamily="2" charset="2"/>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buClr>
                <a:srgbClr val="97A0A5"/>
              </a:buClr>
            </a:pPr>
            <a:r>
              <a:rPr lang="en-US" dirty="0">
                <a:solidFill>
                  <a:prstClr val="white"/>
                </a:solidFill>
              </a:rPr>
              <a:t>This presentation has been prepared by ASM Assembly Systems (hereafter referred to as “ASM AS") exclusively for the benefit and internal use of the recipient and does not carry any right of publication or disclosure to any other party. This document is not and must not be considered as a prospectus. Neither this presentation nor any of its content may be used for any other purpose without the prior written consent of ASM AS. </a:t>
            </a:r>
          </a:p>
          <a:p>
            <a:pPr lvl="2">
              <a:buClr>
                <a:srgbClr val="97A0A5"/>
              </a:buClr>
            </a:pPr>
            <a:r>
              <a:rPr lang="en-US" dirty="0">
                <a:solidFill>
                  <a:prstClr val="white"/>
                </a:solidFill>
              </a:rPr>
              <a:t>The information in this presentation reflects prevailing conditions, to the best of our knowledge, as of this date, all of which are accordingly subject to change. In preparing this presentation, ASM AS has relied upon and assumed, without independent verification, the accuracy and completeness of all information from public sources or which was otherwise reviewed by us. No representation or warranty (express or implied) is given as to the accuracy or completeness of the information contained in this publication, and, to the extent permitted by law, ASM, its directors, employees, representatives, and agents do not accept or assume any liability, responsibility or duty of care for any consequences of you or anyone else acting, or refraining to act, in reliance on the information contained in this presentation or for any decision based on it.</a:t>
            </a:r>
          </a:p>
          <a:p>
            <a:pPr lvl="2">
              <a:buClr>
                <a:srgbClr val="97A0A5"/>
              </a:buClr>
            </a:pPr>
            <a:r>
              <a:rPr lang="en-US" b="1" dirty="0">
                <a:solidFill>
                  <a:prstClr val="white"/>
                </a:solidFill>
              </a:rPr>
              <a:t>©2016 ASM AS. </a:t>
            </a:r>
            <a:r>
              <a:rPr lang="en-US" dirty="0">
                <a:solidFill>
                  <a:prstClr val="white"/>
                </a:solidFill>
              </a:rPr>
              <a:t>All rights reserved. No part of this publication may be reproduced, stored in a retrieval system or transmitted in any form or by any means electronic, mechanical, photocopying, recording or otherwise, without the prior written permission of ASM AS.</a:t>
            </a:r>
          </a:p>
        </p:txBody>
      </p:sp>
      <p:sp>
        <p:nvSpPr>
          <p:cNvPr id="13" name="Textfeld 12"/>
          <p:cNvSpPr txBox="1"/>
          <p:nvPr userDrawn="1"/>
        </p:nvSpPr>
        <p:spPr>
          <a:xfrm>
            <a:off x="1522" y="432000"/>
            <a:ext cx="9144000" cy="936000"/>
          </a:xfrm>
          <a:prstGeom prst="rect">
            <a:avLst/>
          </a:prstGeom>
          <a:solidFill>
            <a:schemeClr val="bg1"/>
          </a:solidFill>
        </p:spPr>
        <p:txBody>
          <a:bodyPr vert="horz" lIns="324000" tIns="45720" rIns="91440" bIns="45720" rtlCol="0" anchor="ctr">
            <a:normAutofit/>
          </a:bodyPr>
          <a:lstStyle>
            <a:lvl1pPr>
              <a:spcBef>
                <a:spcPct val="0"/>
              </a:spcBef>
              <a:buNone/>
              <a:defRPr b="1">
                <a:solidFill>
                  <a:schemeClr val="bg1"/>
                </a:solidFill>
                <a:latin typeface="+mj-lt"/>
                <a:ea typeface="+mj-ea"/>
                <a:cs typeface="+mj-cs"/>
              </a:defRPr>
            </a:lvl1pPr>
          </a:lstStyle>
          <a:p>
            <a:r>
              <a:rPr lang="de-DE" dirty="0">
                <a:solidFill>
                  <a:srgbClr val="000000"/>
                </a:solidFill>
              </a:rPr>
              <a:t>Legal</a:t>
            </a:r>
            <a:r>
              <a:rPr lang="de-DE" dirty="0">
                <a:solidFill>
                  <a:prstClr val="white"/>
                </a:solidFill>
              </a:rPr>
              <a:t> </a:t>
            </a:r>
            <a:r>
              <a:rPr lang="de-DE" dirty="0">
                <a:solidFill>
                  <a:srgbClr val="000000"/>
                </a:solidFill>
              </a:rPr>
              <a:t>Disclaimer</a:t>
            </a:r>
            <a:endParaRPr lang="en-US" dirty="0">
              <a:solidFill>
                <a:srgbClr val="000000"/>
              </a:solidFill>
            </a:endParaRPr>
          </a:p>
        </p:txBody>
      </p:sp>
    </p:spTree>
    <p:extLst>
      <p:ext uri="{BB962C8B-B14F-4D97-AF65-F5344CB8AC3E}">
        <p14:creationId xmlns:p14="http://schemas.microsoft.com/office/powerpoint/2010/main" val="1788281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hank You_DE">
    <p:spTree>
      <p:nvGrpSpPr>
        <p:cNvPr id="1" name=""/>
        <p:cNvGrpSpPr/>
        <p:nvPr/>
      </p:nvGrpSpPr>
      <p:grpSpPr>
        <a:xfrm>
          <a:off x="0" y="0"/>
          <a:ext cx="0" cy="0"/>
          <a:chOff x="0" y="0"/>
          <a:chExt cx="0" cy="0"/>
        </a:xfrm>
      </p:grpSpPr>
      <p:grpSp>
        <p:nvGrpSpPr>
          <p:cNvPr id="4" name="Gruppieren 3"/>
          <p:cNvGrpSpPr/>
          <p:nvPr userDrawn="1"/>
        </p:nvGrpSpPr>
        <p:grpSpPr>
          <a:xfrm>
            <a:off x="0" y="0"/>
            <a:ext cx="9144000" cy="5141913"/>
            <a:chOff x="0" y="0"/>
            <a:chExt cx="9144000" cy="5141913"/>
          </a:xfrm>
        </p:grpSpPr>
        <p:sp>
          <p:nvSpPr>
            <p:cNvPr id="5" name="Rechteck 4"/>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bg1"/>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9"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userDrawn="1"/>
        </p:nvSpPr>
        <p:spPr>
          <a:xfrm>
            <a:off x="6372200" y="2675696"/>
            <a:ext cx="2016000" cy="400110"/>
          </a:xfrm>
          <a:prstGeom prst="rect">
            <a:avLst/>
          </a:prstGeom>
          <a:solidFill>
            <a:schemeClr val="bg1"/>
          </a:solidFill>
        </p:spPr>
        <p:txBody>
          <a:bodyPr wrap="square" rtlCol="0">
            <a:spAutoFit/>
          </a:bodyPr>
          <a:lstStyle/>
          <a:p>
            <a:r>
              <a:rPr lang="en-US" sz="1000" b="1" dirty="0">
                <a:solidFill>
                  <a:prstClr val="white"/>
                </a:solidFill>
              </a:rPr>
              <a:t>          </a:t>
            </a:r>
            <a:r>
              <a:rPr lang="en-US" sz="1000" b="1" dirty="0" err="1">
                <a:solidFill>
                  <a:srgbClr val="000000"/>
                </a:solidFill>
              </a:rPr>
              <a:t>Informiert</a:t>
            </a:r>
            <a:r>
              <a:rPr lang="en-US" sz="1000" b="1" dirty="0">
                <a:solidFill>
                  <a:srgbClr val="000000"/>
                </a:solidFill>
              </a:rPr>
              <a:t> via Blog:</a:t>
            </a:r>
          </a:p>
          <a:p>
            <a:r>
              <a:rPr lang="en-US" sz="1000" b="1" dirty="0">
                <a:solidFill>
                  <a:prstClr val="white"/>
                </a:solidFill>
                <a:hlinkClick r:id="rId5"/>
              </a:rPr>
              <a:t>Smart SMT Factory Forum</a:t>
            </a:r>
            <a:endParaRPr lang="en-US" sz="1000" b="1" dirty="0">
              <a:solidFill>
                <a:prstClr val="white"/>
              </a:solidFill>
            </a:endParaRPr>
          </a:p>
        </p:txBody>
      </p:sp>
      <p:sp>
        <p:nvSpPr>
          <p:cNvPr id="12" name="Textfeld 11"/>
          <p:cNvSpPr txBox="1"/>
          <p:nvPr userDrawn="1"/>
        </p:nvSpPr>
        <p:spPr>
          <a:xfrm>
            <a:off x="1063034" y="1559572"/>
            <a:ext cx="1816778"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err="1">
                <a:solidFill>
                  <a:srgbClr val="000000"/>
                </a:solidFill>
              </a:rPr>
              <a:t>Alle</a:t>
            </a:r>
            <a:r>
              <a:rPr lang="en-US" dirty="0">
                <a:solidFill>
                  <a:srgbClr val="000000"/>
                </a:solidFill>
              </a:rPr>
              <a:t> Videos &amp; </a:t>
            </a:r>
            <a:r>
              <a:rPr lang="en-US" dirty="0" err="1">
                <a:solidFill>
                  <a:srgbClr val="000000"/>
                </a:solidFill>
              </a:rPr>
              <a:t>Animationen</a:t>
            </a:r>
            <a:r>
              <a:rPr lang="en-US" dirty="0">
                <a:solidFill>
                  <a:srgbClr val="000000"/>
                </a:solidFill>
              </a:rPr>
              <a:t> auf </a:t>
            </a:r>
            <a:r>
              <a:rPr lang="en-US" dirty="0">
                <a:solidFill>
                  <a:srgbClr val="000000"/>
                </a:solidFill>
                <a:hlinkClick r:id="rId6"/>
              </a:rPr>
              <a:t>YouTube</a:t>
            </a:r>
            <a:endParaRPr lang="de-DE" dirty="0">
              <a:solidFill>
                <a:prstClr val="white"/>
              </a:solidFill>
            </a:endParaRPr>
          </a:p>
        </p:txBody>
      </p:sp>
      <p:pic>
        <p:nvPicPr>
          <p:cNvPr id="13" name="Picture 4" descr="T:\ASM\16-2509-ASM PPT Master - Schlussfolie\16-2408-ASM Smart SMT Factory Forum Logo_161013.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136" y="1671650"/>
            <a:ext cx="1173787" cy="118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4427984" y="555526"/>
            <a:ext cx="1764196"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a:t>
            </a:r>
            <a:r>
              <a:rPr lang="en-US" dirty="0" err="1">
                <a:solidFill>
                  <a:srgbClr val="000000"/>
                </a:solidFill>
              </a:rPr>
              <a:t>Professionel</a:t>
            </a:r>
            <a:r>
              <a:rPr lang="en-US" dirty="0">
                <a:solidFill>
                  <a:srgbClr val="000000"/>
                </a:solidFill>
              </a:rPr>
              <a:t> </a:t>
            </a:r>
            <a:r>
              <a:rPr lang="en-US" dirty="0" err="1">
                <a:solidFill>
                  <a:srgbClr val="000000"/>
                </a:solidFill>
              </a:rPr>
              <a:t>Networken</a:t>
            </a:r>
            <a:r>
              <a:rPr lang="en-US" dirty="0">
                <a:solidFill>
                  <a:srgbClr val="000000"/>
                </a:solidFill>
              </a:rPr>
              <a:t> </a:t>
            </a:r>
            <a:br>
              <a:rPr lang="en-US" dirty="0">
                <a:solidFill>
                  <a:srgbClr val="000000"/>
                </a:solidFill>
              </a:rPr>
            </a:br>
            <a:r>
              <a:rPr lang="en-US" dirty="0">
                <a:solidFill>
                  <a:srgbClr val="000000"/>
                </a:solidFill>
              </a:rPr>
              <a:t>  auf </a:t>
            </a:r>
            <a:r>
              <a:rPr lang="en-US" dirty="0">
                <a:solidFill>
                  <a:srgbClr val="000000"/>
                </a:solidFill>
                <a:hlinkClick r:id="rId8"/>
              </a:rPr>
              <a:t>Xing</a:t>
            </a:r>
            <a:r>
              <a:rPr lang="en-US" dirty="0">
                <a:solidFill>
                  <a:srgbClr val="000000"/>
                </a:solidFill>
              </a:rPr>
              <a:t> und </a:t>
            </a:r>
            <a:r>
              <a:rPr lang="en-US" dirty="0">
                <a:solidFill>
                  <a:srgbClr val="000000"/>
                </a:solidFill>
                <a:hlinkClick r:id="rId9"/>
              </a:rPr>
              <a:t>LinkedIn</a:t>
            </a:r>
            <a:endParaRPr lang="en-US" dirty="0">
              <a:solidFill>
                <a:srgbClr val="000000"/>
              </a:solidFill>
            </a:endParaRPr>
          </a:p>
        </p:txBody>
      </p:sp>
      <p:pic>
        <p:nvPicPr>
          <p:cNvPr id="15" name="Picture 6" descr="T:\ASM\16-2509-ASM PPT Master - Schlussfolie\LinkedIn.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04000" y="519522"/>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userDrawn="1"/>
        </p:nvSpPr>
        <p:spPr>
          <a:xfrm>
            <a:off x="1756232" y="987574"/>
            <a:ext cx="1591632"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err="1">
                <a:solidFill>
                  <a:srgbClr val="000000"/>
                </a:solidFill>
              </a:rPr>
              <a:t>Aktuelle</a:t>
            </a:r>
            <a:r>
              <a:rPr lang="en-US" dirty="0">
                <a:solidFill>
                  <a:srgbClr val="000000"/>
                </a:solidFill>
              </a:rPr>
              <a:t> </a:t>
            </a:r>
            <a:r>
              <a:rPr lang="en-US" dirty="0" err="1">
                <a:solidFill>
                  <a:srgbClr val="000000"/>
                </a:solidFill>
              </a:rPr>
              <a:t>Informationen</a:t>
            </a:r>
            <a:r>
              <a:rPr lang="en-US" dirty="0">
                <a:solidFill>
                  <a:srgbClr val="000000"/>
                </a:solidFill>
              </a:rPr>
              <a:t> </a:t>
            </a:r>
            <a:br>
              <a:rPr lang="en-US" dirty="0">
                <a:solidFill>
                  <a:srgbClr val="000000"/>
                </a:solidFill>
              </a:rPr>
            </a:br>
            <a:r>
              <a:rPr lang="en-US" dirty="0">
                <a:solidFill>
                  <a:srgbClr val="000000"/>
                </a:solidFill>
              </a:rPr>
              <a:t>auf </a:t>
            </a:r>
            <a:r>
              <a:rPr lang="en-US" dirty="0">
                <a:solidFill>
                  <a:srgbClr val="000000"/>
                </a:solidFill>
                <a:hlinkClick r:id="rId11"/>
              </a:rPr>
              <a:t>Facebook</a:t>
            </a:r>
            <a:endParaRPr lang="en-US" dirty="0">
              <a:solidFill>
                <a:srgbClr val="000000"/>
              </a:solidFill>
            </a:endParaRPr>
          </a:p>
        </p:txBody>
      </p:sp>
      <p:pic>
        <p:nvPicPr>
          <p:cNvPr id="17" name="Picture 7" descr="T:\ASM\16-2509-ASM PPT Master - Schlussfolie\FaceBook.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458832" y="636192"/>
            <a:ext cx="46800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ASM\16-2509-ASM PPT Master - Schlussfolie\YouTub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3568" y="1347614"/>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userDrawn="1"/>
        </p:nvSpPr>
        <p:spPr>
          <a:xfrm>
            <a:off x="1511661" y="2875707"/>
            <a:ext cx="1944000"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a:t>
            </a:r>
            <a:r>
              <a:rPr lang="en-US" dirty="0" err="1">
                <a:solidFill>
                  <a:srgbClr val="000000"/>
                </a:solidFill>
              </a:rPr>
              <a:t>Umfangreiche</a:t>
            </a:r>
            <a:r>
              <a:rPr lang="en-US" dirty="0">
                <a:solidFill>
                  <a:srgbClr val="000000"/>
                </a:solidFill>
              </a:rPr>
              <a:t> ASM Online-Tools  </a:t>
            </a:r>
            <a:r>
              <a:rPr lang="en-US" dirty="0" err="1">
                <a:solidFill>
                  <a:srgbClr val="000000"/>
                </a:solidFill>
              </a:rPr>
              <a:t>unter</a:t>
            </a:r>
            <a:r>
              <a:rPr lang="en-US" dirty="0">
                <a:solidFill>
                  <a:srgbClr val="000000"/>
                </a:solidFill>
              </a:rPr>
              <a:t> </a:t>
            </a:r>
            <a:r>
              <a:rPr lang="en-US" dirty="0" err="1">
                <a:solidFill>
                  <a:srgbClr val="000000"/>
                </a:solidFill>
                <a:hlinkClick r:id="rId14"/>
              </a:rPr>
              <a:t>MyASM</a:t>
            </a:r>
            <a:r>
              <a:rPr lang="en-US" dirty="0">
                <a:solidFill>
                  <a:srgbClr val="000000"/>
                </a:solidFill>
              </a:rPr>
              <a:t> </a:t>
            </a:r>
          </a:p>
        </p:txBody>
      </p:sp>
      <p:pic>
        <p:nvPicPr>
          <p:cNvPr id="20" name="Picture 2" descr="T:\ASM\16-2509-ASM PPT Master - Schlussfolie\Xing.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688176" y="15948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T:\ASM\16-2509-ASM PPT Master - Schlussfolie\MyASM.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7584" y="2679762"/>
            <a:ext cx="755076" cy="79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userDrawn="1"/>
        </p:nvSpPr>
        <p:spPr>
          <a:xfrm>
            <a:off x="3635876" y="2175706"/>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dirty="0">
                <a:solidFill>
                  <a:srgbClr val="000000"/>
                </a:solidFill>
                <a:hlinkClick r:id="rId17"/>
              </a:rPr>
              <a:t>Newsletter</a:t>
            </a:r>
            <a:endParaRPr lang="en-US" dirty="0">
              <a:solidFill>
                <a:srgbClr val="000000"/>
              </a:solidFill>
            </a:endParaRPr>
          </a:p>
        </p:txBody>
      </p:sp>
      <p:pic>
        <p:nvPicPr>
          <p:cNvPr id="23"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207506" y="2071704"/>
            <a:ext cx="467999" cy="468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1"/>
          <p:cNvSpPr txBox="1"/>
          <p:nvPr userDrawn="1"/>
        </p:nvSpPr>
        <p:spPr>
          <a:xfrm>
            <a:off x="823906" y="4079960"/>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u="sng" dirty="0">
                <a:solidFill>
                  <a:srgbClr val="AA312C"/>
                </a:solidFill>
                <a:hlinkClick r:id="rId14"/>
              </a:rPr>
              <a:t>Website</a:t>
            </a:r>
            <a:endParaRPr lang="en-US" u="sng" dirty="0">
              <a:solidFill>
                <a:srgbClr val="AA312C"/>
              </a:solidFill>
            </a:endParaRPr>
          </a:p>
        </p:txBody>
      </p:sp>
      <p:sp>
        <p:nvSpPr>
          <p:cNvPr id="25" name="Oval 24"/>
          <p:cNvSpPr/>
          <p:nvPr userDrawn="1"/>
        </p:nvSpPr>
        <p:spPr>
          <a:xfrm>
            <a:off x="381809" y="3975958"/>
            <a:ext cx="468052" cy="468000"/>
          </a:xfrm>
          <a:prstGeom prst="ellipse">
            <a:avLst/>
          </a:prstGeom>
          <a:solidFill>
            <a:schemeClr val="accent1"/>
          </a:solidFill>
          <a:ln w="19050">
            <a:solidFill>
              <a:srgbClr val="8989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6" name="TextBox 25"/>
          <p:cNvSpPr txBox="1"/>
          <p:nvPr userDrawn="1"/>
        </p:nvSpPr>
        <p:spPr>
          <a:xfrm>
            <a:off x="336954" y="4047914"/>
            <a:ext cx="545342" cy="276999"/>
          </a:xfrm>
          <a:prstGeom prst="rect">
            <a:avLst/>
          </a:prstGeom>
          <a:noFill/>
        </p:spPr>
        <p:txBody>
          <a:bodyPr wrap="none" rtlCol="0">
            <a:spAutoFit/>
          </a:bodyPr>
          <a:lstStyle/>
          <a:p>
            <a:r>
              <a:rPr lang="de-DE" sz="1200" b="1" dirty="0" err="1">
                <a:solidFill>
                  <a:prstClr val="white"/>
                </a:solidFill>
              </a:rPr>
              <a:t>www</a:t>
            </a:r>
            <a:endParaRPr lang="de-DE" sz="1200" b="1" dirty="0">
              <a:solidFill>
                <a:prstClr val="white"/>
              </a:solidFill>
            </a:endParaRPr>
          </a:p>
        </p:txBody>
      </p:sp>
    </p:spTree>
    <p:extLst>
      <p:ext uri="{BB962C8B-B14F-4D97-AF65-F5344CB8AC3E}">
        <p14:creationId xmlns:p14="http://schemas.microsoft.com/office/powerpoint/2010/main" val="670513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hank You_EN">
    <p:spTree>
      <p:nvGrpSpPr>
        <p:cNvPr id="1" name=""/>
        <p:cNvGrpSpPr/>
        <p:nvPr/>
      </p:nvGrpSpPr>
      <p:grpSpPr>
        <a:xfrm>
          <a:off x="0" y="0"/>
          <a:ext cx="0" cy="0"/>
          <a:chOff x="0" y="0"/>
          <a:chExt cx="0" cy="0"/>
        </a:xfrm>
      </p:grpSpPr>
      <p:grpSp>
        <p:nvGrpSpPr>
          <p:cNvPr id="4" name="Gruppieren 3"/>
          <p:cNvGrpSpPr/>
          <p:nvPr userDrawn="1"/>
        </p:nvGrpSpPr>
        <p:grpSpPr>
          <a:xfrm>
            <a:off x="0" y="0"/>
            <a:ext cx="9144000" cy="5141913"/>
            <a:chOff x="0" y="0"/>
            <a:chExt cx="9144000" cy="5141913"/>
          </a:xfrm>
        </p:grpSpPr>
        <p:sp>
          <p:nvSpPr>
            <p:cNvPr id="5" name="Rechteck 4"/>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bg1"/>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9"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userDrawn="1"/>
        </p:nvSpPr>
        <p:spPr>
          <a:xfrm>
            <a:off x="6372200" y="2675696"/>
            <a:ext cx="2016224" cy="400110"/>
          </a:xfrm>
          <a:prstGeom prst="rect">
            <a:avLst/>
          </a:prstGeom>
          <a:solidFill>
            <a:schemeClr val="bg1"/>
          </a:solidFill>
        </p:spPr>
        <p:txBody>
          <a:bodyPr wrap="square" rtlCol="0">
            <a:spAutoFit/>
          </a:bodyPr>
          <a:lstStyle/>
          <a:p>
            <a:r>
              <a:rPr lang="en-US" sz="1000" b="1" dirty="0">
                <a:solidFill>
                  <a:prstClr val="white"/>
                </a:solidFill>
              </a:rPr>
              <a:t>          </a:t>
            </a:r>
            <a:r>
              <a:rPr lang="en-US" sz="1000" b="1" dirty="0">
                <a:solidFill>
                  <a:srgbClr val="000000"/>
                </a:solidFill>
              </a:rPr>
              <a:t>Stay informed via Blog:</a:t>
            </a:r>
          </a:p>
          <a:p>
            <a:r>
              <a:rPr lang="en-US" sz="1000" b="1" dirty="0">
                <a:solidFill>
                  <a:prstClr val="white"/>
                </a:solidFill>
                <a:hlinkClick r:id="rId5"/>
              </a:rPr>
              <a:t>Smart SMT Factory Forum</a:t>
            </a:r>
            <a:endParaRPr lang="en-US" sz="1000" b="1" dirty="0">
              <a:solidFill>
                <a:prstClr val="white"/>
              </a:solidFill>
            </a:endParaRPr>
          </a:p>
        </p:txBody>
      </p:sp>
      <p:sp>
        <p:nvSpPr>
          <p:cNvPr id="12" name="Textfeld 11"/>
          <p:cNvSpPr txBox="1"/>
          <p:nvPr userDrawn="1"/>
        </p:nvSpPr>
        <p:spPr>
          <a:xfrm>
            <a:off x="1063034" y="1559572"/>
            <a:ext cx="1816778"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ll videos </a:t>
            </a:r>
            <a:r>
              <a:rPr lang="en-US">
                <a:solidFill>
                  <a:srgbClr val="000000"/>
                </a:solidFill>
              </a:rPr>
              <a:t>&amp; animations </a:t>
            </a:r>
            <a:br>
              <a:rPr lang="en-US">
                <a:solidFill>
                  <a:srgbClr val="000000"/>
                </a:solidFill>
              </a:rPr>
            </a:br>
            <a:r>
              <a:rPr lang="en-US">
                <a:solidFill>
                  <a:srgbClr val="000000"/>
                </a:solidFill>
              </a:rPr>
              <a:t>on </a:t>
            </a:r>
            <a:r>
              <a:rPr lang="en-US" dirty="0">
                <a:solidFill>
                  <a:srgbClr val="000000"/>
                </a:solidFill>
                <a:hlinkClick r:id="rId6"/>
              </a:rPr>
              <a:t>YouTube</a:t>
            </a:r>
            <a:endParaRPr lang="de-DE" dirty="0">
              <a:solidFill>
                <a:prstClr val="white"/>
              </a:solidFill>
            </a:endParaRPr>
          </a:p>
        </p:txBody>
      </p:sp>
      <p:pic>
        <p:nvPicPr>
          <p:cNvPr id="13" name="Picture 4" descr="T:\ASM\16-2509-ASM PPT Master - Schlussfolie\16-2408-ASM Smart SMT Factory Forum Logo_161013.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136" y="1671650"/>
            <a:ext cx="1173787" cy="118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4427984" y="555526"/>
            <a:ext cx="1764196"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Professional network </a:t>
            </a:r>
            <a:br>
              <a:rPr lang="en-US" dirty="0">
                <a:solidFill>
                  <a:srgbClr val="000000"/>
                </a:solidFill>
              </a:rPr>
            </a:br>
            <a:r>
              <a:rPr lang="en-US" dirty="0">
                <a:solidFill>
                  <a:srgbClr val="000000"/>
                </a:solidFill>
              </a:rPr>
              <a:t>  on </a:t>
            </a:r>
            <a:r>
              <a:rPr lang="en-US" dirty="0">
                <a:solidFill>
                  <a:srgbClr val="000000"/>
                </a:solidFill>
                <a:hlinkClick r:id="rId8"/>
              </a:rPr>
              <a:t>Xing</a:t>
            </a:r>
            <a:r>
              <a:rPr lang="en-US" dirty="0">
                <a:solidFill>
                  <a:srgbClr val="000000"/>
                </a:solidFill>
              </a:rPr>
              <a:t> and </a:t>
            </a:r>
            <a:r>
              <a:rPr lang="en-US" dirty="0">
                <a:solidFill>
                  <a:srgbClr val="000000"/>
                </a:solidFill>
                <a:hlinkClick r:id="rId9"/>
              </a:rPr>
              <a:t>LinkedIn</a:t>
            </a:r>
            <a:endParaRPr lang="en-US" dirty="0">
              <a:solidFill>
                <a:srgbClr val="000000"/>
              </a:solidFill>
            </a:endParaRPr>
          </a:p>
        </p:txBody>
      </p:sp>
      <p:pic>
        <p:nvPicPr>
          <p:cNvPr id="15" name="Picture 6" descr="T:\ASM\16-2509-ASM PPT Master - Schlussfolie\LinkedIn.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04000" y="519522"/>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userDrawn="1"/>
        </p:nvSpPr>
        <p:spPr>
          <a:xfrm>
            <a:off x="1756232" y="987574"/>
            <a:ext cx="1591632"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Latest information </a:t>
            </a:r>
            <a:br>
              <a:rPr lang="en-US" dirty="0">
                <a:solidFill>
                  <a:srgbClr val="000000"/>
                </a:solidFill>
              </a:rPr>
            </a:br>
            <a:r>
              <a:rPr lang="en-US" dirty="0">
                <a:solidFill>
                  <a:srgbClr val="000000"/>
                </a:solidFill>
              </a:rPr>
              <a:t>on </a:t>
            </a:r>
            <a:r>
              <a:rPr lang="en-US" dirty="0" err="1">
                <a:solidFill>
                  <a:srgbClr val="000000"/>
                </a:solidFill>
                <a:hlinkClick r:id="rId11"/>
              </a:rPr>
              <a:t>facebook</a:t>
            </a:r>
            <a:endParaRPr lang="en-US" dirty="0">
              <a:solidFill>
                <a:srgbClr val="000000"/>
              </a:solidFill>
            </a:endParaRPr>
          </a:p>
        </p:txBody>
      </p:sp>
      <p:pic>
        <p:nvPicPr>
          <p:cNvPr id="17" name="Picture 7" descr="T:\ASM\16-2509-ASM PPT Master - Schlussfolie\FaceBook.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458832" y="636192"/>
            <a:ext cx="46800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ASM\16-2509-ASM PPT Master - Schlussfolie\YouTub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3568" y="1347614"/>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userDrawn="1"/>
        </p:nvSpPr>
        <p:spPr>
          <a:xfrm>
            <a:off x="1511661" y="2875707"/>
            <a:ext cx="1944000"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All ASM online tools</a:t>
            </a:r>
            <a:br>
              <a:rPr lang="en-US" dirty="0">
                <a:solidFill>
                  <a:srgbClr val="000000"/>
                </a:solidFill>
              </a:rPr>
            </a:br>
            <a:r>
              <a:rPr lang="en-US" dirty="0">
                <a:solidFill>
                  <a:srgbClr val="000000"/>
                </a:solidFill>
              </a:rPr>
              <a:t> at a glance  </a:t>
            </a:r>
            <a:r>
              <a:rPr lang="en-US" dirty="0" err="1">
                <a:solidFill>
                  <a:srgbClr val="000000"/>
                </a:solidFill>
                <a:hlinkClick r:id="rId14"/>
              </a:rPr>
              <a:t>MyASM</a:t>
            </a:r>
            <a:r>
              <a:rPr lang="en-US" dirty="0">
                <a:solidFill>
                  <a:srgbClr val="000000"/>
                </a:solidFill>
              </a:rPr>
              <a:t> </a:t>
            </a:r>
          </a:p>
        </p:txBody>
      </p:sp>
      <p:pic>
        <p:nvPicPr>
          <p:cNvPr id="20" name="Picture 2" descr="T:\ASM\16-2509-ASM PPT Master - Schlussfolie\Xing.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688176" y="15948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T:\ASM\16-2509-ASM PPT Master - Schlussfolie\MyASM.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7584" y="2679762"/>
            <a:ext cx="755076" cy="79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userDrawn="1"/>
        </p:nvSpPr>
        <p:spPr>
          <a:xfrm>
            <a:off x="3635876" y="2175706"/>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dirty="0">
                <a:solidFill>
                  <a:srgbClr val="000000"/>
                </a:solidFill>
                <a:hlinkClick r:id="rId17"/>
              </a:rPr>
              <a:t>Newsletter</a:t>
            </a:r>
            <a:endParaRPr lang="en-US" dirty="0">
              <a:solidFill>
                <a:srgbClr val="000000"/>
              </a:solidFill>
            </a:endParaRPr>
          </a:p>
        </p:txBody>
      </p:sp>
      <p:pic>
        <p:nvPicPr>
          <p:cNvPr id="23"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207506" y="2071704"/>
            <a:ext cx="467999" cy="468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feld 21"/>
          <p:cNvSpPr txBox="1"/>
          <p:nvPr userDrawn="1"/>
        </p:nvSpPr>
        <p:spPr>
          <a:xfrm>
            <a:off x="823906" y="4079960"/>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u="sng" dirty="0">
                <a:solidFill>
                  <a:srgbClr val="AA312C"/>
                </a:solidFill>
                <a:hlinkClick r:id="rId14"/>
              </a:rPr>
              <a:t>Website</a:t>
            </a:r>
            <a:endParaRPr lang="en-US" u="sng" dirty="0">
              <a:solidFill>
                <a:srgbClr val="AA312C"/>
              </a:solidFill>
            </a:endParaRPr>
          </a:p>
        </p:txBody>
      </p:sp>
      <p:sp>
        <p:nvSpPr>
          <p:cNvPr id="27" name="Oval 26"/>
          <p:cNvSpPr/>
          <p:nvPr userDrawn="1"/>
        </p:nvSpPr>
        <p:spPr>
          <a:xfrm>
            <a:off x="381809" y="3975958"/>
            <a:ext cx="468052" cy="468000"/>
          </a:xfrm>
          <a:prstGeom prst="ellipse">
            <a:avLst/>
          </a:prstGeom>
          <a:solidFill>
            <a:schemeClr val="accent1"/>
          </a:solidFill>
          <a:ln w="19050">
            <a:solidFill>
              <a:srgbClr val="8989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8" name="TextBox 27"/>
          <p:cNvSpPr txBox="1"/>
          <p:nvPr userDrawn="1"/>
        </p:nvSpPr>
        <p:spPr>
          <a:xfrm>
            <a:off x="336954" y="4047914"/>
            <a:ext cx="545342" cy="276999"/>
          </a:xfrm>
          <a:prstGeom prst="rect">
            <a:avLst/>
          </a:prstGeom>
          <a:noFill/>
        </p:spPr>
        <p:txBody>
          <a:bodyPr wrap="none" rtlCol="0">
            <a:spAutoFit/>
          </a:bodyPr>
          <a:lstStyle/>
          <a:p>
            <a:r>
              <a:rPr lang="de-DE" sz="1200" b="1" dirty="0" err="1">
                <a:solidFill>
                  <a:prstClr val="white"/>
                </a:solidFill>
              </a:rPr>
              <a:t>www</a:t>
            </a:r>
            <a:endParaRPr lang="de-DE" sz="1200" b="1" dirty="0">
              <a:solidFill>
                <a:prstClr val="white"/>
              </a:solidFill>
            </a:endParaRPr>
          </a:p>
        </p:txBody>
      </p:sp>
    </p:spTree>
    <p:extLst>
      <p:ext uri="{BB962C8B-B14F-4D97-AF65-F5344CB8AC3E}">
        <p14:creationId xmlns:p14="http://schemas.microsoft.com/office/powerpoint/2010/main" val="353393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le_2">
    <p:spTree>
      <p:nvGrpSpPr>
        <p:cNvPr id="1" name=""/>
        <p:cNvGrpSpPr/>
        <p:nvPr/>
      </p:nvGrpSpPr>
      <p:grpSpPr>
        <a:xfrm>
          <a:off x="0" y="0"/>
          <a:ext cx="0" cy="0"/>
          <a:chOff x="0" y="0"/>
          <a:chExt cx="0" cy="0"/>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319038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le_1">
    <p:spTree>
      <p:nvGrpSpPr>
        <p:cNvPr id="1" name=""/>
        <p:cNvGrpSpPr/>
        <p:nvPr/>
      </p:nvGrpSpPr>
      <p:grpSpPr>
        <a:xfrm>
          <a:off x="0" y="0"/>
          <a:ext cx="0" cy="0"/>
          <a:chOff x="0" y="0"/>
          <a:chExt cx="0" cy="0"/>
        </a:xfrm>
      </p:grpSpPr>
      <p:grpSp>
        <p:nvGrpSpPr>
          <p:cNvPr id="5" name="Gruppieren 4"/>
          <p:cNvGrpSpPr/>
          <p:nvPr userDrawn="1"/>
        </p:nvGrpSpPr>
        <p:grpSpPr>
          <a:xfrm>
            <a:off x="0" y="0"/>
            <a:ext cx="9144000" cy="5141913"/>
            <a:chOff x="0" y="0"/>
            <a:chExt cx="9144000" cy="5141913"/>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2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7"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39" y="14845"/>
            <a:ext cx="9142522" cy="352901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628800"/>
            <a:ext cx="3816000" cy="766800"/>
          </a:xfrm>
        </p:spPr>
        <p:txBody>
          <a:bodyPr lIns="0" tIns="0" rIns="0" bIns="46800"/>
          <a:lstStyle>
            <a:lvl1pPr algn="l">
              <a:defRPr b="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680000"/>
            <a:ext cx="3816000" cy="392400"/>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292352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_2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653E73-9FF0-42B5-B635-55E8550EC10E}"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9" y="1563689"/>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6"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6"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3268381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lle_2">
    <p:spTree>
      <p:nvGrpSpPr>
        <p:cNvPr id="1" name=""/>
        <p:cNvGrpSpPr/>
        <p:nvPr/>
      </p:nvGrpSpPr>
      <p:grpSpPr>
        <a:xfrm>
          <a:off x="0" y="0"/>
          <a:ext cx="0" cy="0"/>
          <a:chOff x="0" y="0"/>
          <a:chExt cx="0" cy="0"/>
        </a:xfrm>
      </p:grpSpPr>
      <p:grpSp>
        <p:nvGrpSpPr>
          <p:cNvPr id="5" name="Gruppieren 4"/>
          <p:cNvGrpSpPr/>
          <p:nvPr userDrawn="1"/>
        </p:nvGrpSpPr>
        <p:grpSpPr>
          <a:xfrm>
            <a:off x="0" y="0"/>
            <a:ext cx="9144000" cy="5141913"/>
            <a:chOff x="0" y="0"/>
            <a:chExt cx="9144000" cy="5141913"/>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2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7"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255826"/>
            <a:ext cx="3816000" cy="766800"/>
          </a:xfrm>
        </p:spPr>
        <p:txBody>
          <a:bodyPr lIns="0" tIns="0" rIns="0" bIns="46800"/>
          <a:lstStyle>
            <a:lvl1pPr algn="l">
              <a:defRPr b="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307026"/>
            <a:ext cx="3816000" cy="392400"/>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2356099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3" name="Picture 2" descr="T:\ASM\16-2458-ASM PPT Company\number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777" y="4480018"/>
            <a:ext cx="443321" cy="39904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userDrawn="1">
            <p:ph type="dt" sz="half" idx="10"/>
          </p:nvPr>
        </p:nvSpPr>
        <p:spPr/>
        <p:txBody>
          <a:bodyPr/>
          <a:lstStyle/>
          <a:p>
            <a:fld id="{B01C74D4-ABD7-4E7B-A5A0-2460BDCBEA9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userDrawn="1">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userDrawn="1">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6" name="Textplatzhalter 6"/>
          <p:cNvSpPr>
            <a:spLocks noGrp="1"/>
          </p:cNvSpPr>
          <p:nvPr userDrawn="1">
            <p:ph type="body" sz="quarter" idx="13"/>
          </p:nvPr>
        </p:nvSpPr>
        <p:spPr>
          <a:xfrm>
            <a:off x="2484438" y="1275606"/>
            <a:ext cx="5040000" cy="360000"/>
          </a:xfrm>
        </p:spPr>
        <p:txBody>
          <a:bodyPr anchor="ctr" anchorCtr="0"/>
          <a:lstStyle>
            <a:lvl1pPr>
              <a:defRPr>
                <a:solidFill>
                  <a:schemeClr val="tx1"/>
                </a:solidFill>
              </a:defRPr>
            </a:lvl1pPr>
          </a:lstStyle>
          <a:p>
            <a:pPr lvl="0"/>
            <a:r>
              <a:rPr lang="de-DE" dirty="0"/>
              <a:t>Textmasterformat bearbeiten</a:t>
            </a:r>
          </a:p>
        </p:txBody>
      </p:sp>
      <p:sp>
        <p:nvSpPr>
          <p:cNvPr id="17" name="Textplatzhalter 6"/>
          <p:cNvSpPr>
            <a:spLocks noGrp="1"/>
          </p:cNvSpPr>
          <p:nvPr userDrawn="1">
            <p:ph type="body" sz="quarter" idx="14"/>
          </p:nvPr>
        </p:nvSpPr>
        <p:spPr>
          <a:xfrm>
            <a:off x="2484438" y="4443998"/>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8" name="Textplatzhalter 6"/>
          <p:cNvSpPr>
            <a:spLocks noGrp="1"/>
          </p:cNvSpPr>
          <p:nvPr userDrawn="1">
            <p:ph type="body" sz="quarter" idx="15"/>
          </p:nvPr>
        </p:nvSpPr>
        <p:spPr>
          <a:xfrm>
            <a:off x="2484438" y="4047949"/>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9" name="Textplatzhalter 6"/>
          <p:cNvSpPr>
            <a:spLocks noGrp="1"/>
          </p:cNvSpPr>
          <p:nvPr userDrawn="1">
            <p:ph type="body" sz="quarter" idx="16"/>
          </p:nvPr>
        </p:nvSpPr>
        <p:spPr>
          <a:xfrm>
            <a:off x="2484438" y="3651900"/>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0" name="Textplatzhalter 6"/>
          <p:cNvSpPr>
            <a:spLocks noGrp="1"/>
          </p:cNvSpPr>
          <p:nvPr userDrawn="1">
            <p:ph type="body" sz="quarter" idx="17"/>
          </p:nvPr>
        </p:nvSpPr>
        <p:spPr>
          <a:xfrm>
            <a:off x="2484438" y="3255851"/>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1" name="Textplatzhalter 6"/>
          <p:cNvSpPr>
            <a:spLocks noGrp="1"/>
          </p:cNvSpPr>
          <p:nvPr userDrawn="1">
            <p:ph type="body" sz="quarter" idx="18"/>
          </p:nvPr>
        </p:nvSpPr>
        <p:spPr>
          <a:xfrm>
            <a:off x="2484438" y="2859802"/>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2" name="Textplatzhalter 6"/>
          <p:cNvSpPr>
            <a:spLocks noGrp="1"/>
          </p:cNvSpPr>
          <p:nvPr userDrawn="1">
            <p:ph type="body" sz="quarter" idx="19"/>
          </p:nvPr>
        </p:nvSpPr>
        <p:spPr>
          <a:xfrm>
            <a:off x="2484438" y="2463753"/>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3" name="Textplatzhalter 6"/>
          <p:cNvSpPr>
            <a:spLocks noGrp="1"/>
          </p:cNvSpPr>
          <p:nvPr userDrawn="1">
            <p:ph type="body" sz="quarter" idx="20"/>
          </p:nvPr>
        </p:nvSpPr>
        <p:spPr>
          <a:xfrm>
            <a:off x="2484438" y="2067704"/>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4" name="Textplatzhalter 6"/>
          <p:cNvSpPr>
            <a:spLocks noGrp="1"/>
          </p:cNvSpPr>
          <p:nvPr userDrawn="1">
            <p:ph type="body" sz="quarter" idx="21"/>
          </p:nvPr>
        </p:nvSpPr>
        <p:spPr>
          <a:xfrm>
            <a:off x="2484438" y="1671655"/>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grpSp>
        <p:nvGrpSpPr>
          <p:cNvPr id="31" name="Gruppieren 30"/>
          <p:cNvGrpSpPr/>
          <p:nvPr userDrawn="1"/>
        </p:nvGrpSpPr>
        <p:grpSpPr>
          <a:xfrm>
            <a:off x="0" y="900"/>
            <a:ext cx="9144000" cy="432000"/>
            <a:chOff x="0" y="900"/>
            <a:chExt cx="9144000" cy="432000"/>
          </a:xfrm>
        </p:grpSpPr>
        <p:sp>
          <p:nvSpPr>
            <p:cNvPr id="33" name="Rechteck 32"/>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34"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uppieren 27"/>
          <p:cNvGrpSpPr/>
          <p:nvPr userDrawn="1"/>
        </p:nvGrpSpPr>
        <p:grpSpPr>
          <a:xfrm>
            <a:off x="2470150" y="4922730"/>
            <a:ext cx="6423024" cy="138036"/>
            <a:chOff x="2470150" y="4922730"/>
            <a:chExt cx="6423024" cy="138036"/>
          </a:xfrm>
        </p:grpSpPr>
        <p:sp>
          <p:nvSpPr>
            <p:cNvPr id="2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3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Tree>
    <p:extLst>
      <p:ext uri="{BB962C8B-B14F-4D97-AF65-F5344CB8AC3E}">
        <p14:creationId xmlns:p14="http://schemas.microsoft.com/office/powerpoint/2010/main" val="118227902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tandard_Text_1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58D892C-8876-4D24-AC24-4F99A89A6869}"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8"/>
            <a:ext cx="748952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754541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7A0BE77-75F0-4DF4-8DF8-78EF4EC1BF6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9"/>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5154651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_ne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7A0BE77-75F0-4DF4-8DF8-78EF4EC1BF6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9"/>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pic>
        <p:nvPicPr>
          <p:cNvPr id="1028"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68404" y="432000"/>
            <a:ext cx="6326966" cy="471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8299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tandard_Text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4A29CFF-9C53-41A6-8AF4-9D8818DF139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8"/>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0"/>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371728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tandard_Text_2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961E84AC-A96A-40D3-BD89-93859AA1A3E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14987080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tandard_Text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281FF832-9060-47DA-B25E-893FE390D42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2982533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tandard_Text_3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BBF6BA8-A245-4766-8173-D53B3F540513}"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6"/>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9249528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tandard_Text_4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E378B22-B104-446C-BE95-355C76E96CD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Textplatzhalter 6"/>
          <p:cNvSpPr>
            <a:spLocks noGrp="1"/>
          </p:cNvSpPr>
          <p:nvPr>
            <p:ph type="body" sz="quarter" idx="16"/>
          </p:nvPr>
        </p:nvSpPr>
        <p:spPr>
          <a:xfrm>
            <a:off x="467999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6"/>
          <p:cNvSpPr>
            <a:spLocks noGrp="1"/>
          </p:cNvSpPr>
          <p:nvPr>
            <p:ph type="body" sz="quarter" idx="17"/>
          </p:nvPr>
        </p:nvSpPr>
        <p:spPr>
          <a:xfrm>
            <a:off x="32384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28792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_1 Text Container_2 Picture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A464D779-B2FC-4103-9F41-E1BE67F8CEDF}"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350" y="1563689"/>
            <a:ext cx="53292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8"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8"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11460928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tandard_Text_Table top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5257F7C-0A34-4E56-B692-68218B4FBB05}"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8287436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tandard_Text_Table top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CA40FEF5-F330-4ED9-BA06-481D9B29C289}"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0000"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5505355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tandard_2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653E73-9FF0-42B5-B635-55E8550EC10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15384532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tandard_1 Text Container_2 Picture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A464D779-B2FC-4103-9F41-E1BE67F8CED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7"/>
            <a:ext cx="53292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40530307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44A6584-FC1A-4282-B121-0673C49C0870}"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7"/>
            <a:ext cx="603451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7582328"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7582328"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7582328"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29638377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tandard_3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514716B5-BC99-4DD3-94E0-4D89361703D9}"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9106475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tandard_2 Pictures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1AF93A07-FCA3-43F0-AF28-A797F24FAE3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9" y="3258000"/>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80439086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tandard_2 Text Container_2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CB514B5-08A6-4375-ABAC-5336E5A7914A}"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8"/>
            <a:ext cx="5329238"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49" y="3258000"/>
            <a:ext cx="5329239"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15147874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tandard_3 Pictures_3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019BDBA-CB92-4A98-95C2-A177E2D5333A}"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8" y="3831775"/>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2484439" y="2697731"/>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13931648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tandard_3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A68CC98-BB1E-4B44-A894-37BDC1D6BF3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8"/>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50" y="3831775"/>
            <a:ext cx="6047282"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7595094"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1403349" y="2697731"/>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7595094"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7595094"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12742194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44A6584-FC1A-4282-B121-0673C49C0870}"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357" y="1563689"/>
            <a:ext cx="603451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7582328"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7582328"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7582328"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9560234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horizontal">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a:xfrm>
            <a:off x="5752647"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1" name="Bildplatzhalter 9"/>
          <p:cNvSpPr>
            <a:spLocks noGrp="1"/>
          </p:cNvSpPr>
          <p:nvPr>
            <p:ph type="pic" sz="quarter" idx="14"/>
          </p:nvPr>
        </p:nvSpPr>
        <p:spPr>
          <a:xfrm>
            <a:off x="3705705"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2" name="Bildplatzhalter 9"/>
          <p:cNvSpPr>
            <a:spLocks noGrp="1"/>
          </p:cNvSpPr>
          <p:nvPr>
            <p:ph type="pic" sz="quarter" idx="15"/>
          </p:nvPr>
        </p:nvSpPr>
        <p:spPr>
          <a:xfrm>
            <a:off x="1658764"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504B2B9-1D61-40DE-BBBC-37AC4242B47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6"/>
          </p:nvPr>
        </p:nvSpPr>
        <p:spPr>
          <a:xfrm>
            <a:off x="1404000" y="1562401"/>
            <a:ext cx="7488000" cy="1513406"/>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8251582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tandard_1 Text Container_5 Pictures horizontal">
    <p:spTree>
      <p:nvGrpSpPr>
        <p:cNvPr id="1" name=""/>
        <p:cNvGrpSpPr/>
        <p:nvPr/>
      </p:nvGrpSpPr>
      <p:grpSpPr>
        <a:xfrm>
          <a:off x="0" y="0"/>
          <a:ext cx="0" cy="0"/>
          <a:chOff x="0" y="0"/>
          <a:chExt cx="0" cy="0"/>
        </a:xfrm>
      </p:grpSpPr>
      <p:sp>
        <p:nvSpPr>
          <p:cNvPr id="11" name="Bildplatzhalter 9"/>
          <p:cNvSpPr>
            <a:spLocks noGrp="1"/>
          </p:cNvSpPr>
          <p:nvPr>
            <p:ph type="pic" sz="quarter" idx="14"/>
          </p:nvPr>
        </p:nvSpPr>
        <p:spPr>
          <a:xfrm>
            <a:off x="3844374"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EAD0F36A-4623-47B9-AE7A-D1CAC87B279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5" name="Bildplatzhalter 9"/>
          <p:cNvSpPr>
            <a:spLocks noGrp="1"/>
          </p:cNvSpPr>
          <p:nvPr>
            <p:ph type="pic" sz="quarter" idx="15"/>
          </p:nvPr>
        </p:nvSpPr>
        <p:spPr>
          <a:xfrm>
            <a:off x="5604636"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7" name="Bildplatzhalter 9"/>
          <p:cNvSpPr>
            <a:spLocks noGrp="1"/>
          </p:cNvSpPr>
          <p:nvPr>
            <p:ph type="pic" sz="quarter" idx="17"/>
          </p:nvPr>
        </p:nvSpPr>
        <p:spPr>
          <a:xfrm>
            <a:off x="323850"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8" name="Bildplatzhalter 9"/>
          <p:cNvSpPr>
            <a:spLocks noGrp="1"/>
          </p:cNvSpPr>
          <p:nvPr>
            <p:ph type="pic" sz="quarter" idx="18"/>
          </p:nvPr>
        </p:nvSpPr>
        <p:spPr>
          <a:xfrm>
            <a:off x="2084112"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7" name="Textplatzhalter 6"/>
          <p:cNvSpPr>
            <a:spLocks noGrp="1"/>
          </p:cNvSpPr>
          <p:nvPr>
            <p:ph type="body" sz="quarter" idx="19"/>
          </p:nvPr>
        </p:nvSpPr>
        <p:spPr>
          <a:xfrm>
            <a:off x="1403999" y="1562400"/>
            <a:ext cx="7488000" cy="151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9"/>
          <p:cNvSpPr>
            <a:spLocks noGrp="1"/>
          </p:cNvSpPr>
          <p:nvPr>
            <p:ph type="pic" sz="quarter" idx="16"/>
          </p:nvPr>
        </p:nvSpPr>
        <p:spPr>
          <a:xfrm>
            <a:off x="7364897" y="3423894"/>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Tree>
    <p:extLst>
      <p:ext uri="{BB962C8B-B14F-4D97-AF65-F5344CB8AC3E}">
        <p14:creationId xmlns:p14="http://schemas.microsoft.com/office/powerpoint/2010/main" val="330944185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ero Shot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38B9DB5-8761-446F-9B38-70D2616F3D1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8" name="Textplatzhalter 7"/>
          <p:cNvSpPr>
            <a:spLocks noGrp="1"/>
          </p:cNvSpPr>
          <p:nvPr>
            <p:ph type="body" sz="quarter" idx="14"/>
          </p:nvPr>
        </p:nvSpPr>
        <p:spPr>
          <a:xfrm>
            <a:off x="3203575" y="2067694"/>
            <a:ext cx="5689600" cy="273630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27181167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tandard_Grafik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Datumsplatzhalter 2"/>
          <p:cNvSpPr>
            <a:spLocks noGrp="1"/>
          </p:cNvSpPr>
          <p:nvPr>
            <p:ph type="dt" sz="half" idx="10"/>
          </p:nvPr>
        </p:nvSpPr>
        <p:spPr/>
        <p:txBody>
          <a:bodyPr/>
          <a:lstStyle/>
          <a:p>
            <a:fld id="{FD8C514D-F61E-4EA9-943B-55F8F1F39C2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30" name="Textplatzhalter 6"/>
          <p:cNvSpPr>
            <a:spLocks noGrp="1"/>
          </p:cNvSpPr>
          <p:nvPr>
            <p:ph type="body" sz="quarter" idx="13"/>
          </p:nvPr>
        </p:nvSpPr>
        <p:spPr>
          <a:xfrm>
            <a:off x="4643438" y="1563687"/>
            <a:ext cx="4249736" cy="32400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329610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
    <p:spTree>
      <p:nvGrpSpPr>
        <p:cNvPr id="1" name=""/>
        <p:cNvGrpSpPr/>
        <p:nvPr/>
      </p:nvGrpSpPr>
      <p:grpSpPr>
        <a:xfrm>
          <a:off x="0" y="0"/>
          <a:ext cx="0" cy="0"/>
          <a:chOff x="0" y="0"/>
          <a:chExt cx="0" cy="0"/>
        </a:xfrm>
      </p:grpSpPr>
      <p:sp>
        <p:nvSpPr>
          <p:cNvPr id="8" name="Rechteck 7"/>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14"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
        <p:nvSpPr>
          <p:cNvPr id="3" name="Datumsplatzhalter 2"/>
          <p:cNvSpPr>
            <a:spLocks noGrp="1"/>
          </p:cNvSpPr>
          <p:nvPr>
            <p:ph type="dt" sz="half" idx="10"/>
          </p:nvPr>
        </p:nvSpPr>
        <p:spPr/>
        <p:txBody>
          <a:bodyPr/>
          <a:lstStyle/>
          <a:p>
            <a:fld id="{BBFFFDA7-2DE8-4F39-AB3F-B81B5BD5873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8"/>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Tree>
    <p:extLst>
      <p:ext uri="{BB962C8B-B14F-4D97-AF65-F5344CB8AC3E}">
        <p14:creationId xmlns:p14="http://schemas.microsoft.com/office/powerpoint/2010/main" val="10505660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_Benefit">
    <p:spTree>
      <p:nvGrpSpPr>
        <p:cNvPr id="1" name=""/>
        <p:cNvGrpSpPr/>
        <p:nvPr/>
      </p:nvGrpSpPr>
      <p:grpSpPr>
        <a:xfrm>
          <a:off x="0" y="0"/>
          <a:ext cx="0" cy="0"/>
          <a:chOff x="0" y="0"/>
          <a:chExt cx="0" cy="0"/>
        </a:xfrm>
      </p:grpSpPr>
      <p:sp>
        <p:nvSpPr>
          <p:cNvPr id="10" name="Rechteck 9"/>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 name="Datumsplatzhalter 2"/>
          <p:cNvSpPr>
            <a:spLocks noGrp="1"/>
          </p:cNvSpPr>
          <p:nvPr>
            <p:ph type="dt" sz="half" idx="10"/>
          </p:nvPr>
        </p:nvSpPr>
        <p:spPr/>
        <p:txBody>
          <a:bodyPr/>
          <a:lstStyle/>
          <a:p>
            <a:fld id="{3B94A1E8-4866-4170-B4D9-42204AEAF7F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9"/>
            <a:ext cx="6408736" cy="295275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1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Tree>
    <p:extLst>
      <p:ext uri="{BB962C8B-B14F-4D97-AF65-F5344CB8AC3E}">
        <p14:creationId xmlns:p14="http://schemas.microsoft.com/office/powerpoint/2010/main" val="41618088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tandard_Triangle Picture_Benefit">
    <p:spTree>
      <p:nvGrpSpPr>
        <p:cNvPr id="1" name=""/>
        <p:cNvGrpSpPr/>
        <p:nvPr/>
      </p:nvGrpSpPr>
      <p:grpSpPr>
        <a:xfrm>
          <a:off x="0" y="0"/>
          <a:ext cx="0" cy="0"/>
          <a:chOff x="0" y="0"/>
          <a:chExt cx="0" cy="0"/>
        </a:xfrm>
      </p:grpSpPr>
      <p:sp>
        <p:nvSpPr>
          <p:cNvPr id="8" name="Rechteck 7"/>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 name="Datumsplatzhalter 2"/>
          <p:cNvSpPr>
            <a:spLocks noGrp="1"/>
          </p:cNvSpPr>
          <p:nvPr>
            <p:ph type="dt" sz="half" idx="10"/>
          </p:nvPr>
        </p:nvSpPr>
        <p:spPr/>
        <p:txBody>
          <a:bodyPr/>
          <a:lstStyle/>
          <a:p>
            <a:fld id="{3B94A1E8-4866-4170-B4D9-42204AEAF7F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1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Tree>
    <p:extLst>
      <p:ext uri="{BB962C8B-B14F-4D97-AF65-F5344CB8AC3E}">
        <p14:creationId xmlns:p14="http://schemas.microsoft.com/office/powerpoint/2010/main" val="12867204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DF4FE13-BC48-4064-AD86-F63DCED346E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abellenplatzhalter 6"/>
          <p:cNvSpPr>
            <a:spLocks noGrp="1"/>
          </p:cNvSpPr>
          <p:nvPr>
            <p:ph type="tbl" sz="quarter" idx="13"/>
          </p:nvPr>
        </p:nvSpPr>
        <p:spPr>
          <a:xfrm>
            <a:off x="1403350" y="1563688"/>
            <a:ext cx="7489825" cy="3240087"/>
          </a:xfrm>
        </p:spPr>
        <p:txBody>
          <a:bodyPr anchor="ctr"/>
          <a:lstStyle>
            <a:lvl1pPr algn="ctr">
              <a:defRPr/>
            </a:lvl1pPr>
          </a:lstStyle>
          <a:p>
            <a:endParaRPr lang="en-US" dirty="0"/>
          </a:p>
        </p:txBody>
      </p:sp>
    </p:spTree>
    <p:extLst>
      <p:ext uri="{BB962C8B-B14F-4D97-AF65-F5344CB8AC3E}">
        <p14:creationId xmlns:p14="http://schemas.microsoft.com/office/powerpoint/2010/main" val="62447912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ackground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p>
            <a:pPr lvl="0"/>
            <a:r>
              <a:rPr lang="de-DE" dirty="0"/>
              <a:t>Textmasterformat bearbeiten</a:t>
            </a:r>
            <a:endParaRPr lang="en-US" dirty="0"/>
          </a:p>
        </p:txBody>
      </p:sp>
    </p:spTree>
    <p:extLst>
      <p:ext uri="{BB962C8B-B14F-4D97-AF65-F5344CB8AC3E}">
        <p14:creationId xmlns:p14="http://schemas.microsoft.com/office/powerpoint/2010/main" val="17881315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E495CBDD-7DA5-4682-B654-58CABA95666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Tree>
    <p:extLst>
      <p:ext uri="{BB962C8B-B14F-4D97-AF65-F5344CB8AC3E}">
        <p14:creationId xmlns:p14="http://schemas.microsoft.com/office/powerpoint/2010/main" val="25996615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_3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514716B5-BC99-4DD3-94E0-4D89361703D9}"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9" y="1563689"/>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282467016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Background_Benefit">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399"/>
          <a:stretch/>
        </p:blipFill>
        <p:spPr bwMode="auto">
          <a:xfrm>
            <a:off x="1354" y="432000"/>
            <a:ext cx="9141292" cy="47115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p>
            <a:pPr lvl="0"/>
            <a:r>
              <a:rPr lang="de-DE" dirty="0"/>
              <a:t>Textmasterformat bearbeiten</a:t>
            </a:r>
            <a:endParaRPr lang="en-US" dirty="0"/>
          </a:p>
        </p:txBody>
      </p:sp>
      <p:sp>
        <p:nvSpPr>
          <p:cNvPr id="11" name="Line 8"/>
          <p:cNvSpPr>
            <a:spLocks noChangeShapeType="1"/>
          </p:cNvSpPr>
          <p:nvPr/>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2"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spTree>
    <p:extLst>
      <p:ext uri="{BB962C8B-B14F-4D97-AF65-F5344CB8AC3E}">
        <p14:creationId xmlns:p14="http://schemas.microsoft.com/office/powerpoint/2010/main" val="427381385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ackground_Benefit_Backgroun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399"/>
          <a:stretch/>
        </p:blipFill>
        <p:spPr bwMode="auto">
          <a:xfrm>
            <a:off x="1354" y="432000"/>
            <a:ext cx="9141292" cy="4711500"/>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userDrawn="1"/>
        </p:nvSpPr>
        <p:spPr>
          <a:xfrm>
            <a:off x="2826504" y="915566"/>
            <a:ext cx="6065496" cy="392472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lvl1pPr>
              <a:defRPr sz="1000"/>
            </a:lvl1pPr>
          </a:lstStyle>
          <a:p>
            <a:pPr lvl="0"/>
            <a:r>
              <a:rPr lang="de-DE" dirty="0"/>
              <a:t>Textmasterformat bearbeiten</a:t>
            </a:r>
            <a:endParaRPr lang="en-US" dirty="0"/>
          </a:p>
        </p:txBody>
      </p:sp>
      <p:sp>
        <p:nvSpPr>
          <p:cNvPr id="11" name="Line 8"/>
          <p:cNvSpPr>
            <a:spLocks noChangeShapeType="1"/>
          </p:cNvSpPr>
          <p:nvPr/>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2"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spTree>
    <p:extLst>
      <p:ext uri="{BB962C8B-B14F-4D97-AF65-F5344CB8AC3E}">
        <p14:creationId xmlns:p14="http://schemas.microsoft.com/office/powerpoint/2010/main" val="333243384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aser_Hero Shot_1 Text Container_Red">
    <p:spTree>
      <p:nvGrpSpPr>
        <p:cNvPr id="1" name=""/>
        <p:cNvGrpSpPr/>
        <p:nvPr/>
      </p:nvGrpSpPr>
      <p:grpSpPr>
        <a:xfrm>
          <a:off x="0" y="0"/>
          <a:ext cx="0" cy="0"/>
          <a:chOff x="0" y="0"/>
          <a:chExt cx="0" cy="0"/>
        </a:xfrm>
      </p:grpSpPr>
      <p:sp>
        <p:nvSpPr>
          <p:cNvPr id="16" name="Rechteck 15"/>
          <p:cNvSpPr/>
          <p:nvPr userDrawn="1"/>
        </p:nvSpPr>
        <p:spPr>
          <a:xfrm>
            <a:off x="2339752" y="1368000"/>
            <a:ext cx="6804248"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uppieren 16"/>
          <p:cNvGrpSpPr/>
          <p:nvPr userDrawn="1"/>
        </p:nvGrpSpPr>
        <p:grpSpPr>
          <a:xfrm>
            <a:off x="2470150" y="4922730"/>
            <a:ext cx="6423024" cy="138036"/>
            <a:chOff x="2470150" y="4922730"/>
            <a:chExt cx="6423024" cy="138036"/>
          </a:xfrm>
        </p:grpSpPr>
        <p:sp>
          <p:nvSpPr>
            <p:cNvPr id="23"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6"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18" name="Freihandform 17"/>
          <p:cNvSpPr>
            <a:spLocks noChangeAspect="1"/>
          </p:cNvSpPr>
          <p:nvPr userDrawn="1"/>
        </p:nvSpPr>
        <p:spPr>
          <a:xfrm>
            <a:off x="1367644" y="1368000"/>
            <a:ext cx="1015445" cy="3776399"/>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100012 w 1014952"/>
              <a:gd name="connsiteY7"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386827 w 1014952"/>
              <a:gd name="connsiteY7" fmla="*/ 930323 h 4710113"/>
              <a:gd name="connsiteX8" fmla="*/ 100012 w 1014952"/>
              <a:gd name="connsiteY8" fmla="*/ 0 h 4710113"/>
              <a:gd name="connsiteX0" fmla="*/ 100012 w 1014952"/>
              <a:gd name="connsiteY0" fmla="*/ 0 h 4710113"/>
              <a:gd name="connsiteX1" fmla="*/ 885825 w 1014952"/>
              <a:gd name="connsiteY1" fmla="*/ 0 h 4710113"/>
              <a:gd name="connsiteX2" fmla="*/ 1014952 w 1014952"/>
              <a:gd name="connsiteY2" fmla="*/ 930323 h 4710113"/>
              <a:gd name="connsiteX3" fmla="*/ 1014412 w 1014952"/>
              <a:gd name="connsiteY3" fmla="*/ 4710113 h 4710113"/>
              <a:gd name="connsiteX4" fmla="*/ 0 w 1014952"/>
              <a:gd name="connsiteY4" fmla="*/ 4710113 h 4710113"/>
              <a:gd name="connsiteX5" fmla="*/ 952500 w 1014952"/>
              <a:gd name="connsiteY5" fmla="*/ 2776538 h 4710113"/>
              <a:gd name="connsiteX6" fmla="*/ 386827 w 1014952"/>
              <a:gd name="connsiteY6" fmla="*/ 930323 h 4710113"/>
              <a:gd name="connsiteX7" fmla="*/ 100012 w 1014952"/>
              <a:gd name="connsiteY7" fmla="*/ 0 h 4710113"/>
              <a:gd name="connsiteX0" fmla="*/ 100012 w 1014952"/>
              <a:gd name="connsiteY0" fmla="*/ 0 h 4710113"/>
              <a:gd name="connsiteX1" fmla="*/ 1014952 w 1014952"/>
              <a:gd name="connsiteY1" fmla="*/ 930323 h 4710113"/>
              <a:gd name="connsiteX2" fmla="*/ 1014412 w 1014952"/>
              <a:gd name="connsiteY2" fmla="*/ 4710113 h 4710113"/>
              <a:gd name="connsiteX3" fmla="*/ 0 w 1014952"/>
              <a:gd name="connsiteY3" fmla="*/ 4710113 h 4710113"/>
              <a:gd name="connsiteX4" fmla="*/ 952500 w 1014952"/>
              <a:gd name="connsiteY4" fmla="*/ 2776538 h 4710113"/>
              <a:gd name="connsiteX5" fmla="*/ 386827 w 1014952"/>
              <a:gd name="connsiteY5" fmla="*/ 930323 h 4710113"/>
              <a:gd name="connsiteX6" fmla="*/ 100012 w 1014952"/>
              <a:gd name="connsiteY6" fmla="*/ 0 h 4710113"/>
              <a:gd name="connsiteX0" fmla="*/ 386827 w 1014952"/>
              <a:gd name="connsiteY0" fmla="*/ 0 h 3779790"/>
              <a:gd name="connsiteX1" fmla="*/ 1014952 w 1014952"/>
              <a:gd name="connsiteY1" fmla="*/ 0 h 3779790"/>
              <a:gd name="connsiteX2" fmla="*/ 1014412 w 1014952"/>
              <a:gd name="connsiteY2" fmla="*/ 3779790 h 3779790"/>
              <a:gd name="connsiteX3" fmla="*/ 0 w 1014952"/>
              <a:gd name="connsiteY3" fmla="*/ 3779790 h 3779790"/>
              <a:gd name="connsiteX4" fmla="*/ 952500 w 1014952"/>
              <a:gd name="connsiteY4" fmla="*/ 1846215 h 3779790"/>
              <a:gd name="connsiteX5" fmla="*/ 386827 w 1014952"/>
              <a:gd name="connsiteY5" fmla="*/ 0 h 37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952" h="3779790">
                <a:moveTo>
                  <a:pt x="386827" y="0"/>
                </a:moveTo>
                <a:lnTo>
                  <a:pt x="1014952" y="0"/>
                </a:lnTo>
                <a:lnTo>
                  <a:pt x="1014412" y="3779790"/>
                </a:lnTo>
                <a:lnTo>
                  <a:pt x="0" y="3779790"/>
                </a:lnTo>
                <a:lnTo>
                  <a:pt x="952500" y="1846215"/>
                </a:lnTo>
                <a:lnTo>
                  <a:pt x="3868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atumsplatzhalter 2"/>
          <p:cNvSpPr>
            <a:spLocks noGrp="1"/>
          </p:cNvSpPr>
          <p:nvPr userDrawn="1">
            <p:ph type="dt" sz="half" idx="10"/>
          </p:nvPr>
        </p:nvSpPr>
        <p:spPr/>
        <p:txBody>
          <a:bodyPr/>
          <a:lstStyle>
            <a:lvl1pPr>
              <a:defRPr>
                <a:solidFill>
                  <a:schemeClr val="bg1"/>
                </a:solidFill>
              </a:defRPr>
            </a:lvl1pPr>
          </a:lstStyle>
          <a:p>
            <a:fld id="{7C896B75-6883-4F39-8354-ED7F292F5BB2}"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userDrawn="1">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userDrawn="1">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sp>
        <p:nvSpPr>
          <p:cNvPr id="13" name="Textplatzhalter 12"/>
          <p:cNvSpPr>
            <a:spLocks noGrp="1"/>
          </p:cNvSpPr>
          <p:nvPr userDrawn="1">
            <p:ph type="body" sz="quarter" idx="13"/>
          </p:nvPr>
        </p:nvSpPr>
        <p:spPr>
          <a:xfrm>
            <a:off x="3203848" y="2067694"/>
            <a:ext cx="5689326" cy="2736080"/>
          </a:xfrm>
        </p:spPr>
        <p:txBody>
          <a:bodyPr>
            <a:normAutofit/>
          </a:bodyPr>
          <a:lstStyle>
            <a:lvl1pPr>
              <a:defRPr lang="de-DE" sz="1600" b="1" kern="1200" dirty="0" smtClean="0">
                <a:solidFill>
                  <a:schemeClr val="bg1"/>
                </a:solidFill>
                <a:latin typeface="+mn-lt"/>
                <a:ea typeface="+mn-ea"/>
                <a:cs typeface="+mn-cs"/>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2" name="Titel 1"/>
          <p:cNvSpPr>
            <a:spLocks noGrp="1"/>
          </p:cNvSpPr>
          <p:nvPr userDrawn="1">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Tree>
    <p:extLst>
      <p:ext uri="{BB962C8B-B14F-4D97-AF65-F5344CB8AC3E}">
        <p14:creationId xmlns:p14="http://schemas.microsoft.com/office/powerpoint/2010/main" val="15852722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easer_Triangle  Picture_1 Text Container_Benefit_Red">
    <p:spTree>
      <p:nvGrpSpPr>
        <p:cNvPr id="1" name=""/>
        <p:cNvGrpSpPr/>
        <p:nvPr/>
      </p:nvGrpSpPr>
      <p:grpSpPr>
        <a:xfrm>
          <a:off x="0" y="0"/>
          <a:ext cx="0" cy="0"/>
          <a:chOff x="0" y="0"/>
          <a:chExt cx="0" cy="0"/>
        </a:xfrm>
      </p:grpSpPr>
      <p:sp>
        <p:nvSpPr>
          <p:cNvPr id="13" name="Rechteck 12"/>
          <p:cNvSpPr/>
          <p:nvPr userDrawn="1"/>
        </p:nvSpPr>
        <p:spPr>
          <a:xfrm>
            <a:off x="0" y="432000"/>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
        <p:nvSpPr>
          <p:cNvPr id="16" name="Rechteck 15"/>
          <p:cNvSpPr/>
          <p:nvPr userDrawn="1"/>
        </p:nvSpPr>
        <p:spPr>
          <a:xfrm>
            <a:off x="2339752" y="1368000"/>
            <a:ext cx="6804248"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uppieren 17"/>
          <p:cNvGrpSpPr/>
          <p:nvPr userDrawn="1"/>
        </p:nvGrpSpPr>
        <p:grpSpPr>
          <a:xfrm>
            <a:off x="2470150" y="4922730"/>
            <a:ext cx="6423024" cy="138036"/>
            <a:chOff x="2470150" y="4922730"/>
            <a:chExt cx="6423024" cy="138036"/>
          </a:xfrm>
        </p:grpSpPr>
        <p:sp>
          <p:nvSpPr>
            <p:cNvPr id="19"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0"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3" name="Datumsplatzhalter 2"/>
          <p:cNvSpPr>
            <a:spLocks noGrp="1"/>
          </p:cNvSpPr>
          <p:nvPr userDrawn="1">
            <p:ph type="dt" sz="half" idx="10"/>
          </p:nvPr>
        </p:nvSpPr>
        <p:spPr/>
        <p:txBody>
          <a:bodyPr/>
          <a:lstStyle>
            <a:lvl1pPr>
              <a:defRPr>
                <a:solidFill>
                  <a:schemeClr val="bg1"/>
                </a:solidFill>
              </a:defRPr>
            </a:lvl1pPr>
          </a:lstStyle>
          <a:p>
            <a:fld id="{01C9B80A-7BE0-4538-9A16-E9BE6396CC02}"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userDrawn="1">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userDrawn="1">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sp>
        <p:nvSpPr>
          <p:cNvPr id="7" name="Textplatzhalter 6"/>
          <p:cNvSpPr>
            <a:spLocks noGrp="1"/>
          </p:cNvSpPr>
          <p:nvPr userDrawn="1">
            <p:ph type="body" sz="quarter" idx="13"/>
          </p:nvPr>
        </p:nvSpPr>
        <p:spPr>
          <a:xfrm>
            <a:off x="3204000" y="2066400"/>
            <a:ext cx="5688000" cy="2736000"/>
          </a:xfrm>
        </p:spPr>
        <p:txBody>
          <a:bodyPr>
            <a:normAutofit/>
          </a:bodyPr>
          <a:lstStyle>
            <a:lvl1pPr>
              <a:defRPr sz="1600">
                <a:solidFill>
                  <a:schemeClr val="bg1"/>
                </a:solidFill>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userDrawn="1">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22" name="Freihandform 21"/>
          <p:cNvSpPr>
            <a:spLocks noChangeAspect="1"/>
          </p:cNvSpPr>
          <p:nvPr userDrawn="1"/>
        </p:nvSpPr>
        <p:spPr>
          <a:xfrm>
            <a:off x="1367644" y="1368000"/>
            <a:ext cx="1015445" cy="3776399"/>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100012 w 1014952"/>
              <a:gd name="connsiteY7"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386827 w 1014952"/>
              <a:gd name="connsiteY7" fmla="*/ 930323 h 4710113"/>
              <a:gd name="connsiteX8" fmla="*/ 100012 w 1014952"/>
              <a:gd name="connsiteY8" fmla="*/ 0 h 4710113"/>
              <a:gd name="connsiteX0" fmla="*/ 100012 w 1014952"/>
              <a:gd name="connsiteY0" fmla="*/ 0 h 4710113"/>
              <a:gd name="connsiteX1" fmla="*/ 885825 w 1014952"/>
              <a:gd name="connsiteY1" fmla="*/ 0 h 4710113"/>
              <a:gd name="connsiteX2" fmla="*/ 1014952 w 1014952"/>
              <a:gd name="connsiteY2" fmla="*/ 930323 h 4710113"/>
              <a:gd name="connsiteX3" fmla="*/ 1014412 w 1014952"/>
              <a:gd name="connsiteY3" fmla="*/ 4710113 h 4710113"/>
              <a:gd name="connsiteX4" fmla="*/ 0 w 1014952"/>
              <a:gd name="connsiteY4" fmla="*/ 4710113 h 4710113"/>
              <a:gd name="connsiteX5" fmla="*/ 952500 w 1014952"/>
              <a:gd name="connsiteY5" fmla="*/ 2776538 h 4710113"/>
              <a:gd name="connsiteX6" fmla="*/ 386827 w 1014952"/>
              <a:gd name="connsiteY6" fmla="*/ 930323 h 4710113"/>
              <a:gd name="connsiteX7" fmla="*/ 100012 w 1014952"/>
              <a:gd name="connsiteY7" fmla="*/ 0 h 4710113"/>
              <a:gd name="connsiteX0" fmla="*/ 100012 w 1014952"/>
              <a:gd name="connsiteY0" fmla="*/ 0 h 4710113"/>
              <a:gd name="connsiteX1" fmla="*/ 1014952 w 1014952"/>
              <a:gd name="connsiteY1" fmla="*/ 930323 h 4710113"/>
              <a:gd name="connsiteX2" fmla="*/ 1014412 w 1014952"/>
              <a:gd name="connsiteY2" fmla="*/ 4710113 h 4710113"/>
              <a:gd name="connsiteX3" fmla="*/ 0 w 1014952"/>
              <a:gd name="connsiteY3" fmla="*/ 4710113 h 4710113"/>
              <a:gd name="connsiteX4" fmla="*/ 952500 w 1014952"/>
              <a:gd name="connsiteY4" fmla="*/ 2776538 h 4710113"/>
              <a:gd name="connsiteX5" fmla="*/ 386827 w 1014952"/>
              <a:gd name="connsiteY5" fmla="*/ 930323 h 4710113"/>
              <a:gd name="connsiteX6" fmla="*/ 100012 w 1014952"/>
              <a:gd name="connsiteY6" fmla="*/ 0 h 4710113"/>
              <a:gd name="connsiteX0" fmla="*/ 386827 w 1014952"/>
              <a:gd name="connsiteY0" fmla="*/ 0 h 3779790"/>
              <a:gd name="connsiteX1" fmla="*/ 1014952 w 1014952"/>
              <a:gd name="connsiteY1" fmla="*/ 0 h 3779790"/>
              <a:gd name="connsiteX2" fmla="*/ 1014412 w 1014952"/>
              <a:gd name="connsiteY2" fmla="*/ 3779790 h 3779790"/>
              <a:gd name="connsiteX3" fmla="*/ 0 w 1014952"/>
              <a:gd name="connsiteY3" fmla="*/ 3779790 h 3779790"/>
              <a:gd name="connsiteX4" fmla="*/ 952500 w 1014952"/>
              <a:gd name="connsiteY4" fmla="*/ 1846215 h 3779790"/>
              <a:gd name="connsiteX5" fmla="*/ 386827 w 1014952"/>
              <a:gd name="connsiteY5" fmla="*/ 0 h 37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952" h="3779790">
                <a:moveTo>
                  <a:pt x="386827" y="0"/>
                </a:moveTo>
                <a:lnTo>
                  <a:pt x="1014952" y="0"/>
                </a:lnTo>
                <a:lnTo>
                  <a:pt x="1014412" y="3779790"/>
                </a:lnTo>
                <a:lnTo>
                  <a:pt x="0" y="3779790"/>
                </a:lnTo>
                <a:lnTo>
                  <a:pt x="952500" y="1846215"/>
                </a:lnTo>
                <a:lnTo>
                  <a:pt x="3868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80853599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ser_1 Text Container_Benefits">
    <p:spTree>
      <p:nvGrpSpPr>
        <p:cNvPr id="1" name=""/>
        <p:cNvGrpSpPr/>
        <p:nvPr/>
      </p:nvGrpSpPr>
      <p:grpSpPr>
        <a:xfrm>
          <a:off x="0" y="0"/>
          <a:ext cx="0" cy="0"/>
          <a:chOff x="0" y="0"/>
          <a:chExt cx="0" cy="0"/>
        </a:xfrm>
      </p:grpSpPr>
      <p:grpSp>
        <p:nvGrpSpPr>
          <p:cNvPr id="8" name="Gruppieren 7"/>
          <p:cNvGrpSpPr/>
          <p:nvPr userDrawn="1"/>
        </p:nvGrpSpPr>
        <p:grpSpPr>
          <a:xfrm>
            <a:off x="0" y="1368000"/>
            <a:ext cx="9144000" cy="3775500"/>
            <a:chOff x="0" y="1368000"/>
            <a:chExt cx="9144000" cy="3775500"/>
          </a:xfrm>
        </p:grpSpPr>
        <p:sp>
          <p:nvSpPr>
            <p:cNvPr id="7" name="Rechteck 6"/>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grpSp>
      <p:sp>
        <p:nvSpPr>
          <p:cNvPr id="2" name="Titel 1"/>
          <p:cNvSpPr>
            <a:spLocks noGrp="1"/>
          </p:cNvSpPr>
          <p:nvPr>
            <p:ph type="title"/>
          </p:nvPr>
        </p:nvSpPr>
        <p:spPr>
          <a:solidFill>
            <a:schemeClr val="bg1"/>
          </a:solidFill>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lvl1pPr>
              <a:defRPr>
                <a:solidFill>
                  <a:schemeClr val="bg1"/>
                </a:solidFill>
              </a:defRPr>
            </a:lvl1pPr>
          </a:lstStyle>
          <a:p>
            <a:fld id="{13B00D1E-A7D3-4BC9-B1E1-2A1B94616637}"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sp>
        <p:nvSpPr>
          <p:cNvPr id="13" name="Textplatzhalter 12"/>
          <p:cNvSpPr>
            <a:spLocks noGrp="1"/>
          </p:cNvSpPr>
          <p:nvPr>
            <p:ph type="body" sz="quarter" idx="13"/>
          </p:nvPr>
        </p:nvSpPr>
        <p:spPr>
          <a:xfrm>
            <a:off x="1403349" y="1563687"/>
            <a:ext cx="7489825" cy="324008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1992989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 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2738AE4-29B7-4E04-A726-8DB5AD38752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8" name="Textplatzhalter 6"/>
          <p:cNvSpPr>
            <a:spLocks noGrp="1"/>
          </p:cNvSpPr>
          <p:nvPr>
            <p:ph type="body" sz="quarter" idx="14"/>
          </p:nvPr>
        </p:nvSpPr>
        <p:spPr>
          <a:xfrm>
            <a:off x="4681175" y="1562401"/>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9" name="Textplatzhalter 6"/>
          <p:cNvSpPr>
            <a:spLocks noGrp="1"/>
          </p:cNvSpPr>
          <p:nvPr>
            <p:ph type="body" sz="quarter" idx="15"/>
          </p:nvPr>
        </p:nvSpPr>
        <p:spPr>
          <a:xfrm>
            <a:off x="323528"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6"/>
          </p:nvPr>
        </p:nvSpPr>
        <p:spPr>
          <a:xfrm>
            <a:off x="4680854"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5288741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aser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F5AB70A-1D16-4D29-AA24-5E50C34F6DEA}"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marL="0" indent="0">
              <a:buClr>
                <a:schemeClr val="bg1"/>
              </a:buClr>
              <a:buFont typeface="Wingdings" panose="05000000000000000000" pitchFamily="2" charset="2"/>
              <a:buNone/>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a:p>
            <a:pPr lvl="0"/>
            <a:endParaRPr lang="de-DE" dirty="0"/>
          </a:p>
        </p:txBody>
      </p:sp>
    </p:spTree>
    <p:extLst>
      <p:ext uri="{BB962C8B-B14F-4D97-AF65-F5344CB8AC3E}">
        <p14:creationId xmlns:p14="http://schemas.microsoft.com/office/powerpoint/2010/main" val="26043709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aser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97AE8E97-3453-4F5C-A5CA-A05E923B7EC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295275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96026069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D9E1675-7FFE-4BBE-BD27-1B6123725151}"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93996931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aser_2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463F8B5-9E2A-40EB-8DDA-9D5528F3732F}"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11956908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ard_2 Pictures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1AF93A07-FCA3-43F0-AF28-A797F24FAE3C}"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9" y="1563688"/>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9" y="3258000"/>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6"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6"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34734930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aser_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A810F08-0CEA-45AD-83DA-D5802F4ADEF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245067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sclaimer_DE">
    <p:spTree>
      <p:nvGrpSpPr>
        <p:cNvPr id="1" name=""/>
        <p:cNvGrpSpPr/>
        <p:nvPr/>
      </p:nvGrpSpPr>
      <p:grpSpPr>
        <a:xfrm>
          <a:off x="0" y="0"/>
          <a:ext cx="0" cy="0"/>
          <a:chOff x="0" y="0"/>
          <a:chExt cx="0" cy="0"/>
        </a:xfrm>
      </p:grpSpPr>
      <p:sp>
        <p:nvSpPr>
          <p:cNvPr id="6" name="Rechteck 5"/>
          <p:cNvSpPr/>
          <p:nvPr userDrawn="1"/>
        </p:nvSpPr>
        <p:spPr>
          <a:xfrm>
            <a:off x="1" y="432000"/>
            <a:ext cx="9143999" cy="4711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feld 6"/>
          <p:cNvSpPr txBox="1"/>
          <p:nvPr userDrawn="1"/>
        </p:nvSpPr>
        <p:spPr>
          <a:xfrm>
            <a:off x="1522" y="432000"/>
            <a:ext cx="9144000" cy="936000"/>
          </a:xfrm>
          <a:prstGeom prst="rect">
            <a:avLst/>
          </a:prstGeom>
          <a:solidFill>
            <a:schemeClr val="bg1"/>
          </a:solidFill>
        </p:spPr>
        <p:txBody>
          <a:bodyPr vert="horz" lIns="324000" tIns="45720" rIns="91440" bIns="45720" rtlCol="0" anchor="ctr">
            <a:normAutofit/>
          </a:bodyPr>
          <a:lstStyle>
            <a:lvl1pPr>
              <a:spcBef>
                <a:spcPct val="0"/>
              </a:spcBef>
              <a:buNone/>
              <a:defRPr b="1">
                <a:solidFill>
                  <a:schemeClr val="bg1"/>
                </a:solidFill>
                <a:latin typeface="+mj-lt"/>
                <a:ea typeface="+mj-ea"/>
                <a:cs typeface="+mj-cs"/>
              </a:defRPr>
            </a:lvl1pPr>
          </a:lstStyle>
          <a:p>
            <a:r>
              <a:rPr lang="de-DE" dirty="0">
                <a:solidFill>
                  <a:srgbClr val="000000"/>
                </a:solidFill>
              </a:rPr>
              <a:t>Rechtliche Hinweise</a:t>
            </a:r>
            <a:endParaRPr lang="en-US" dirty="0">
              <a:solidFill>
                <a:srgbClr val="000000"/>
              </a:solidFill>
            </a:endParaRPr>
          </a:p>
        </p:txBody>
      </p:sp>
      <p:sp>
        <p:nvSpPr>
          <p:cNvPr id="3" name="Datumsplatzhalter 2"/>
          <p:cNvSpPr>
            <a:spLocks noGrp="1"/>
          </p:cNvSpPr>
          <p:nvPr>
            <p:ph type="dt" sz="half" idx="10"/>
          </p:nvPr>
        </p:nvSpPr>
        <p:spPr/>
        <p:txBody>
          <a:bodyPr/>
          <a:lstStyle>
            <a:lvl1pPr>
              <a:defRPr>
                <a:solidFill>
                  <a:schemeClr val="bg1"/>
                </a:solidFill>
              </a:defRPr>
            </a:lvl1pPr>
          </a:lstStyle>
          <a:p>
            <a:fld id="{0886C42A-D266-4E2E-9315-003B4E0EF922}"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dirty="0">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grpSp>
        <p:nvGrpSpPr>
          <p:cNvPr id="8" name="Gruppieren 7"/>
          <p:cNvGrpSpPr/>
          <p:nvPr userDrawn="1"/>
        </p:nvGrpSpPr>
        <p:grpSpPr>
          <a:xfrm>
            <a:off x="2470150" y="4922730"/>
            <a:ext cx="6423024" cy="138036"/>
            <a:chOff x="2470150" y="4922730"/>
            <a:chExt cx="6423024" cy="138036"/>
          </a:xfrm>
        </p:grpSpPr>
        <p:sp>
          <p:nvSpPr>
            <p:cNvPr id="9" name="Line 8"/>
            <p:cNvSpPr>
              <a:spLocks noChangeShapeType="1"/>
            </p:cNvSpPr>
            <p:nvPr userDrawn="1"/>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0" name="Line 8"/>
            <p:cNvSpPr>
              <a:spLocks noChangeShapeType="1"/>
            </p:cNvSpPr>
            <p:nvPr userDrawn="1"/>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12" name="Textfeld 11"/>
          <p:cNvSpPr txBox="1"/>
          <p:nvPr userDrawn="1"/>
        </p:nvSpPr>
        <p:spPr>
          <a:xfrm>
            <a:off x="0" y="1564854"/>
            <a:ext cx="8893174" cy="3046988"/>
          </a:xfrm>
          <a:prstGeom prst="rect">
            <a:avLst/>
          </a:prstGeom>
        </p:spPr>
        <p:txBody>
          <a:bodyPr vert="horz" lIns="324000" tIns="0" rIns="0" bIns="0" rtlCol="0">
            <a:normAutofit/>
          </a:bodyPr>
          <a:lstStyle>
            <a:lvl1pPr indent="0">
              <a:spcBef>
                <a:spcPts val="1800"/>
              </a:spcBef>
              <a:spcAft>
                <a:spcPts val="450"/>
              </a:spcAft>
              <a:buFont typeface="Arial" panose="020B0604020202020204" pitchFamily="34" charset="0"/>
              <a:buNone/>
              <a:defRPr sz="1200" b="1">
                <a:solidFill>
                  <a:schemeClr val="accent1"/>
                </a:solidFill>
                <a:effectLst/>
              </a:defRPr>
            </a:lvl1pPr>
            <a:lvl2pPr marL="0" indent="0">
              <a:spcBef>
                <a:spcPts val="450"/>
              </a:spcBef>
              <a:buFont typeface="+mj-lt"/>
              <a:buNone/>
              <a:defRPr sz="1100" b="1"/>
            </a:lvl2pPr>
            <a:lvl3pPr marL="0" lvl="2" indent="0">
              <a:spcBef>
                <a:spcPts val="360"/>
              </a:spcBef>
              <a:spcAft>
                <a:spcPts val="600"/>
              </a:spcAft>
              <a:buClr>
                <a:schemeClr val="accent2"/>
              </a:buClr>
              <a:buSzPct val="80000"/>
              <a:buFont typeface="Wingdings" panose="05000000000000000000" pitchFamily="2" charset="2"/>
              <a:buNone/>
              <a:defRPr sz="1200">
                <a:solidFill>
                  <a:schemeClr val="bg1"/>
                </a:solidFill>
                <a:effectLst/>
                <a:ea typeface="Calibri"/>
                <a:cs typeface="Times New Roman"/>
              </a:defRPr>
            </a:lvl3pPr>
            <a:lvl4pPr marL="273600" indent="-136800">
              <a:spcBef>
                <a:spcPts val="360"/>
              </a:spcBef>
              <a:buClr>
                <a:schemeClr val="accent2"/>
              </a:buClr>
              <a:buSzPct val="80000"/>
              <a:buFont typeface="Wingdings" panose="05000000000000000000" pitchFamily="2" charset="2"/>
              <a:buChar char="§"/>
              <a:tabLst/>
              <a:defRPr sz="1200"/>
            </a:lvl4pPr>
            <a:lvl5pPr marL="410400" indent="-136800">
              <a:spcBef>
                <a:spcPts val="360"/>
              </a:spcBef>
              <a:buClr>
                <a:schemeClr val="accent2"/>
              </a:buClr>
              <a:buSzPct val="80000"/>
              <a:buFont typeface="Wingdings" panose="05000000000000000000" pitchFamily="2" charset="2"/>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buClr>
                <a:srgbClr val="97A0A5"/>
              </a:buClr>
            </a:pPr>
            <a:r>
              <a:rPr lang="de-DE" dirty="0">
                <a:solidFill>
                  <a:prstClr val="white"/>
                </a:solidFill>
              </a:rPr>
              <a:t>Diese Präsentation wurde von ASM Assembly Systems (im Folgenden „ASM AS“ genannt) exklusiv und ausschließlich für die interne Verwendung vonseiten des Empfängers erstellt und beinhaltet keinerlei Rechte zur Veröffentlichung oder Weitergabe an Dritte. Dieses Dokument stellt keine Kaufaufforderung dar und ist nicht als Angebot zu verstehen. Weder die Präsentation, noch ihr Inhalt darf ohne die ausdrückliche Zustimmung von ASM AS für andere Zwecke verwendet werden. </a:t>
            </a:r>
            <a:endParaRPr lang="en-US" sz="1100" dirty="0">
              <a:solidFill>
                <a:prstClr val="white"/>
              </a:solidFill>
              <a:latin typeface="Calibri"/>
            </a:endParaRPr>
          </a:p>
          <a:p>
            <a:pPr lvl="2">
              <a:buClr>
                <a:srgbClr val="97A0A5"/>
              </a:buClr>
            </a:pPr>
            <a:r>
              <a:rPr lang="de-DE">
                <a:solidFill>
                  <a:prstClr val="white"/>
                </a:solidFill>
              </a:rPr>
              <a:t>Der </a:t>
            </a:r>
            <a:r>
              <a:rPr lang="de-DE" dirty="0">
                <a:solidFill>
                  <a:prstClr val="white"/>
                </a:solidFill>
              </a:rPr>
              <a:t>Inhalt der Präsentation bezieht sich – nach unserem besten Wissen – auf die derzeit bestehenden Konditionen; Änderungen sind vorbehalten. Bei der Ausarbeitung der Präsentation hat ASM AS ohne unabhängige Prüfung auf die Vollständigkeit und Richtigkeit aller öffentlichen und sonstigen externen Quellen vertraut. Es kann keinerlei (implizite oder explizite) Garantie übernommen werden bezüglich der Richtigkeit und Vollständigkeit dieser Veröffentlichung und ASM AS, seine Vorstände, Mitarbeiter, Vertreter und Handelsvertreter tragen – im gesetzlichen Rahmen –  keinerlei Verpflichtung, Verantwortung oder Sorge für jedwede Konsequenz fremden Handelns oder dessen Unterlassen, das sich auf die Informationen in dieser Präsentation bezieht, noch für jegliche Entscheidung, die mit ihrer Hilfe getroffen wird.</a:t>
            </a:r>
            <a:endParaRPr lang="en-US" sz="1100" dirty="0">
              <a:solidFill>
                <a:prstClr val="white"/>
              </a:solidFill>
              <a:latin typeface="Calibri"/>
            </a:endParaRPr>
          </a:p>
          <a:p>
            <a:pPr lvl="2">
              <a:buClr>
                <a:srgbClr val="97A0A5"/>
              </a:buClr>
            </a:pPr>
            <a:r>
              <a:rPr lang="de-DE" b="1" dirty="0">
                <a:solidFill>
                  <a:prstClr val="white"/>
                </a:solidFill>
              </a:rPr>
              <a:t>© 2016 ASM AS</a:t>
            </a:r>
            <a:r>
              <a:rPr lang="de-DE" dirty="0">
                <a:solidFill>
                  <a:prstClr val="white"/>
                </a:solidFill>
              </a:rPr>
              <a:t>. Alle Rechte vorbehalten. Teile dieser Veröffentlichung dürfen nicht dupliziert, gesichert oder weitergegeben werden, weder durch elektronische oder gedruckte Medien, Fotokopien, Aufzeichnungen oder sonstige Mittel, ohne die ausdrückliche schriftliche Zustimmung von ASM AS.</a:t>
            </a:r>
            <a:endParaRPr lang="en-US" sz="1100" dirty="0">
              <a:solidFill>
                <a:prstClr val="white"/>
              </a:solidFill>
              <a:latin typeface="Calibri"/>
            </a:endParaRPr>
          </a:p>
        </p:txBody>
      </p:sp>
    </p:spTree>
    <p:extLst>
      <p:ext uri="{BB962C8B-B14F-4D97-AF65-F5344CB8AC3E}">
        <p14:creationId xmlns:p14="http://schemas.microsoft.com/office/powerpoint/2010/main" val="370250983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isclaimer_EN">
    <p:spTree>
      <p:nvGrpSpPr>
        <p:cNvPr id="1" name=""/>
        <p:cNvGrpSpPr/>
        <p:nvPr/>
      </p:nvGrpSpPr>
      <p:grpSpPr>
        <a:xfrm>
          <a:off x="0" y="0"/>
          <a:ext cx="0" cy="0"/>
          <a:chOff x="0" y="0"/>
          <a:chExt cx="0" cy="0"/>
        </a:xfrm>
      </p:grpSpPr>
      <p:sp>
        <p:nvSpPr>
          <p:cNvPr id="6" name="Rechteck 5"/>
          <p:cNvSpPr/>
          <p:nvPr userDrawn="1"/>
        </p:nvSpPr>
        <p:spPr>
          <a:xfrm>
            <a:off x="1" y="432000"/>
            <a:ext cx="9143999" cy="4711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atumsplatzhalter 2"/>
          <p:cNvSpPr>
            <a:spLocks noGrp="1"/>
          </p:cNvSpPr>
          <p:nvPr>
            <p:ph type="dt" sz="half" idx="10"/>
          </p:nvPr>
        </p:nvSpPr>
        <p:spPr/>
        <p:txBody>
          <a:bodyPr/>
          <a:lstStyle>
            <a:lvl1pPr>
              <a:defRPr>
                <a:solidFill>
                  <a:schemeClr val="bg1"/>
                </a:solidFill>
              </a:defRPr>
            </a:lvl1pPr>
          </a:lstStyle>
          <a:p>
            <a:fld id="{A9F99225-EA4F-448F-8A51-78A5810CD6EF}" type="datetime1">
              <a:rPr lang="en-US" smtClean="0">
                <a:solidFill>
                  <a:prstClr val="white"/>
                </a:solidFill>
              </a:rPr>
              <a:pPr/>
              <a:t>1/26/2018</a:t>
            </a:fld>
            <a:endParaRPr lang="en-US" dirty="0">
              <a:solidFill>
                <a:prstClr val="white"/>
              </a:solidFill>
            </a:endParaRPr>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solidFill>
                  <a:prstClr val="white"/>
                </a:solidFill>
              </a:rPr>
              <a:t>ASM Assembly Systems</a:t>
            </a:r>
            <a:endParaRPr lang="en-US" dirty="0">
              <a:solidFill>
                <a:prstClr val="white"/>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a:solidFill>
                  <a:prstClr val="white"/>
                </a:solidFill>
              </a:rPr>
              <a:t>Page </a:t>
            </a:r>
            <a:fld id="{9204330F-C5AD-4AC0-88A8-9CB1F8F7EBD6}" type="slidenum">
              <a:rPr lang="en-US" smtClean="0">
                <a:solidFill>
                  <a:prstClr val="white"/>
                </a:solidFill>
              </a:rPr>
              <a:pPr/>
              <a:t>‹Nr.›</a:t>
            </a:fld>
            <a:endParaRPr lang="en-US" dirty="0">
              <a:solidFill>
                <a:prstClr val="white"/>
              </a:solidFill>
            </a:endParaRPr>
          </a:p>
        </p:txBody>
      </p:sp>
      <p:grpSp>
        <p:nvGrpSpPr>
          <p:cNvPr id="8" name="Gruppieren 7"/>
          <p:cNvGrpSpPr/>
          <p:nvPr userDrawn="1"/>
        </p:nvGrpSpPr>
        <p:grpSpPr>
          <a:xfrm>
            <a:off x="2470150" y="4922730"/>
            <a:ext cx="6423024" cy="138036"/>
            <a:chOff x="2470150" y="4922730"/>
            <a:chExt cx="6423024" cy="138036"/>
          </a:xfrm>
        </p:grpSpPr>
        <p:sp>
          <p:nvSpPr>
            <p:cNvPr id="9" name="Line 8"/>
            <p:cNvSpPr>
              <a:spLocks noChangeShapeType="1"/>
            </p:cNvSpPr>
            <p:nvPr userDrawn="1"/>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0" name="Line 8"/>
            <p:cNvSpPr>
              <a:spLocks noChangeShapeType="1"/>
            </p:cNvSpPr>
            <p:nvPr userDrawn="1"/>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12" name="Textfeld 11"/>
          <p:cNvSpPr txBox="1"/>
          <p:nvPr userDrawn="1"/>
        </p:nvSpPr>
        <p:spPr>
          <a:xfrm>
            <a:off x="0" y="1564854"/>
            <a:ext cx="8893174" cy="3046988"/>
          </a:xfrm>
          <a:prstGeom prst="rect">
            <a:avLst/>
          </a:prstGeom>
        </p:spPr>
        <p:txBody>
          <a:bodyPr vert="horz" lIns="324000" tIns="0" rIns="0" bIns="0" rtlCol="0">
            <a:normAutofit/>
          </a:bodyPr>
          <a:lstStyle>
            <a:lvl1pPr indent="0">
              <a:spcBef>
                <a:spcPts val="1800"/>
              </a:spcBef>
              <a:spcAft>
                <a:spcPts val="450"/>
              </a:spcAft>
              <a:buFont typeface="Arial" panose="020B0604020202020204" pitchFamily="34" charset="0"/>
              <a:buNone/>
              <a:defRPr sz="1200" b="1">
                <a:solidFill>
                  <a:schemeClr val="accent1"/>
                </a:solidFill>
                <a:effectLst/>
              </a:defRPr>
            </a:lvl1pPr>
            <a:lvl2pPr marL="0" indent="0">
              <a:spcBef>
                <a:spcPts val="450"/>
              </a:spcBef>
              <a:buFont typeface="+mj-lt"/>
              <a:buNone/>
              <a:defRPr sz="1100" b="1"/>
            </a:lvl2pPr>
            <a:lvl3pPr marL="0" lvl="2" indent="0">
              <a:spcBef>
                <a:spcPts val="360"/>
              </a:spcBef>
              <a:spcAft>
                <a:spcPts val="600"/>
              </a:spcAft>
              <a:buClr>
                <a:schemeClr val="accent2"/>
              </a:buClr>
              <a:buSzPct val="80000"/>
              <a:buFont typeface="Wingdings" panose="05000000000000000000" pitchFamily="2" charset="2"/>
              <a:buNone/>
              <a:defRPr sz="1200">
                <a:solidFill>
                  <a:schemeClr val="bg1"/>
                </a:solidFill>
                <a:effectLst/>
                <a:ea typeface="Calibri"/>
                <a:cs typeface="Times New Roman"/>
              </a:defRPr>
            </a:lvl3pPr>
            <a:lvl4pPr marL="273600" indent="-136800">
              <a:spcBef>
                <a:spcPts val="360"/>
              </a:spcBef>
              <a:buClr>
                <a:schemeClr val="accent2"/>
              </a:buClr>
              <a:buSzPct val="80000"/>
              <a:buFont typeface="Wingdings" panose="05000000000000000000" pitchFamily="2" charset="2"/>
              <a:buChar char="§"/>
              <a:tabLst/>
              <a:defRPr sz="1200"/>
            </a:lvl4pPr>
            <a:lvl5pPr marL="410400" indent="-136800">
              <a:spcBef>
                <a:spcPts val="360"/>
              </a:spcBef>
              <a:buClr>
                <a:schemeClr val="accent2"/>
              </a:buClr>
              <a:buSzPct val="80000"/>
              <a:buFont typeface="Wingdings" panose="05000000000000000000" pitchFamily="2" charset="2"/>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buClr>
                <a:srgbClr val="97A0A5"/>
              </a:buClr>
            </a:pPr>
            <a:r>
              <a:rPr lang="en-US" dirty="0">
                <a:solidFill>
                  <a:prstClr val="white"/>
                </a:solidFill>
              </a:rPr>
              <a:t>This presentation has been prepared by ASM Assembly Systems (hereafter referred to as “ASM AS") exclusively for the benefit and internal use of the recipient and does not carry any right of publication or disclosure to any other party. This document is not and must not be considered as a prospectus. Neither this presentation nor any of its content may be used for any other purpose without the prior written consent of ASM AS. </a:t>
            </a:r>
          </a:p>
          <a:p>
            <a:pPr lvl="2">
              <a:buClr>
                <a:srgbClr val="97A0A5"/>
              </a:buClr>
            </a:pPr>
            <a:r>
              <a:rPr lang="en-US" dirty="0">
                <a:solidFill>
                  <a:prstClr val="white"/>
                </a:solidFill>
              </a:rPr>
              <a:t>The information in this presentation reflects prevailing conditions, to the best of our knowledge, as of this date, all of which are accordingly subject to change. In preparing this presentation, ASM AS has relied upon and assumed, without independent verification, the accuracy and completeness of all information from public sources or which was otherwise reviewed by us. No representation or warranty (express or implied) is given as to the accuracy or completeness of the information contained in this publication, and, to the extent permitted by law, ASM, its directors, employees, representatives, and agents do not accept or assume any liability, responsibility or duty of care for any consequences of you or anyone else acting, or refraining to act, in reliance on the information contained in this presentation or for any decision based on it.</a:t>
            </a:r>
          </a:p>
          <a:p>
            <a:pPr lvl="2">
              <a:buClr>
                <a:srgbClr val="97A0A5"/>
              </a:buClr>
            </a:pPr>
            <a:r>
              <a:rPr lang="en-US" b="1" dirty="0">
                <a:solidFill>
                  <a:prstClr val="white"/>
                </a:solidFill>
              </a:rPr>
              <a:t>©2016 ASM AS. </a:t>
            </a:r>
            <a:r>
              <a:rPr lang="en-US" dirty="0">
                <a:solidFill>
                  <a:prstClr val="white"/>
                </a:solidFill>
              </a:rPr>
              <a:t>All rights reserved. No part of this publication may be reproduced, stored in a retrieval system or transmitted in any form or by any means electronic, mechanical, photocopying, recording or otherwise, without the prior written permission of ASM AS.</a:t>
            </a:r>
          </a:p>
        </p:txBody>
      </p:sp>
      <p:sp>
        <p:nvSpPr>
          <p:cNvPr id="13" name="Textfeld 12"/>
          <p:cNvSpPr txBox="1"/>
          <p:nvPr userDrawn="1"/>
        </p:nvSpPr>
        <p:spPr>
          <a:xfrm>
            <a:off x="1522" y="432000"/>
            <a:ext cx="9144000" cy="936000"/>
          </a:xfrm>
          <a:prstGeom prst="rect">
            <a:avLst/>
          </a:prstGeom>
          <a:solidFill>
            <a:schemeClr val="bg1"/>
          </a:solidFill>
        </p:spPr>
        <p:txBody>
          <a:bodyPr vert="horz" lIns="324000" tIns="45720" rIns="91440" bIns="45720" rtlCol="0" anchor="ctr">
            <a:normAutofit/>
          </a:bodyPr>
          <a:lstStyle>
            <a:lvl1pPr>
              <a:spcBef>
                <a:spcPct val="0"/>
              </a:spcBef>
              <a:buNone/>
              <a:defRPr b="1">
                <a:solidFill>
                  <a:schemeClr val="bg1"/>
                </a:solidFill>
                <a:latin typeface="+mj-lt"/>
                <a:ea typeface="+mj-ea"/>
                <a:cs typeface="+mj-cs"/>
              </a:defRPr>
            </a:lvl1pPr>
          </a:lstStyle>
          <a:p>
            <a:r>
              <a:rPr lang="de-DE" dirty="0">
                <a:solidFill>
                  <a:srgbClr val="000000"/>
                </a:solidFill>
              </a:rPr>
              <a:t>Legal</a:t>
            </a:r>
            <a:r>
              <a:rPr lang="de-DE" dirty="0">
                <a:solidFill>
                  <a:prstClr val="white"/>
                </a:solidFill>
              </a:rPr>
              <a:t> </a:t>
            </a:r>
            <a:r>
              <a:rPr lang="de-DE" dirty="0">
                <a:solidFill>
                  <a:srgbClr val="000000"/>
                </a:solidFill>
              </a:rPr>
              <a:t>Disclaimer</a:t>
            </a:r>
            <a:endParaRPr lang="en-US" dirty="0">
              <a:solidFill>
                <a:srgbClr val="000000"/>
              </a:solidFill>
            </a:endParaRPr>
          </a:p>
        </p:txBody>
      </p:sp>
    </p:spTree>
    <p:extLst>
      <p:ext uri="{BB962C8B-B14F-4D97-AF65-F5344CB8AC3E}">
        <p14:creationId xmlns:p14="http://schemas.microsoft.com/office/powerpoint/2010/main" val="33818007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hank You_DE">
    <p:spTree>
      <p:nvGrpSpPr>
        <p:cNvPr id="1" name=""/>
        <p:cNvGrpSpPr/>
        <p:nvPr/>
      </p:nvGrpSpPr>
      <p:grpSpPr>
        <a:xfrm>
          <a:off x="0" y="0"/>
          <a:ext cx="0" cy="0"/>
          <a:chOff x="0" y="0"/>
          <a:chExt cx="0" cy="0"/>
        </a:xfrm>
      </p:grpSpPr>
      <p:grpSp>
        <p:nvGrpSpPr>
          <p:cNvPr id="4" name="Gruppieren 3"/>
          <p:cNvGrpSpPr/>
          <p:nvPr userDrawn="1"/>
        </p:nvGrpSpPr>
        <p:grpSpPr>
          <a:xfrm>
            <a:off x="0" y="0"/>
            <a:ext cx="9144000" cy="5141913"/>
            <a:chOff x="0" y="0"/>
            <a:chExt cx="9144000" cy="5141913"/>
          </a:xfrm>
        </p:grpSpPr>
        <p:sp>
          <p:nvSpPr>
            <p:cNvPr id="5" name="Rechteck 4"/>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bg1"/>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9"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userDrawn="1"/>
        </p:nvSpPr>
        <p:spPr>
          <a:xfrm>
            <a:off x="6372200" y="2675696"/>
            <a:ext cx="2016000" cy="400110"/>
          </a:xfrm>
          <a:prstGeom prst="rect">
            <a:avLst/>
          </a:prstGeom>
          <a:solidFill>
            <a:schemeClr val="bg1"/>
          </a:solidFill>
        </p:spPr>
        <p:txBody>
          <a:bodyPr wrap="square" rtlCol="0">
            <a:spAutoFit/>
          </a:bodyPr>
          <a:lstStyle/>
          <a:p>
            <a:r>
              <a:rPr lang="en-US" sz="1000" b="1" dirty="0">
                <a:solidFill>
                  <a:prstClr val="white"/>
                </a:solidFill>
              </a:rPr>
              <a:t>          </a:t>
            </a:r>
            <a:r>
              <a:rPr lang="en-US" sz="1000" b="1" dirty="0" err="1">
                <a:solidFill>
                  <a:srgbClr val="000000"/>
                </a:solidFill>
              </a:rPr>
              <a:t>Informiert</a:t>
            </a:r>
            <a:r>
              <a:rPr lang="en-US" sz="1000" b="1" dirty="0">
                <a:solidFill>
                  <a:srgbClr val="000000"/>
                </a:solidFill>
              </a:rPr>
              <a:t> via Blog:</a:t>
            </a:r>
          </a:p>
          <a:p>
            <a:r>
              <a:rPr lang="en-US" sz="1000" b="1" dirty="0">
                <a:solidFill>
                  <a:prstClr val="white"/>
                </a:solidFill>
                <a:hlinkClick r:id="rId5"/>
              </a:rPr>
              <a:t>Smart SMT Factory Forum</a:t>
            </a:r>
            <a:endParaRPr lang="en-US" sz="1000" b="1" dirty="0">
              <a:solidFill>
                <a:prstClr val="white"/>
              </a:solidFill>
            </a:endParaRPr>
          </a:p>
        </p:txBody>
      </p:sp>
      <p:sp>
        <p:nvSpPr>
          <p:cNvPr id="12" name="Textfeld 11"/>
          <p:cNvSpPr txBox="1"/>
          <p:nvPr userDrawn="1"/>
        </p:nvSpPr>
        <p:spPr>
          <a:xfrm>
            <a:off x="1063034" y="1559572"/>
            <a:ext cx="1816778"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err="1">
                <a:solidFill>
                  <a:srgbClr val="000000"/>
                </a:solidFill>
              </a:rPr>
              <a:t>Alle</a:t>
            </a:r>
            <a:r>
              <a:rPr lang="en-US" dirty="0">
                <a:solidFill>
                  <a:srgbClr val="000000"/>
                </a:solidFill>
              </a:rPr>
              <a:t> Videos &amp; </a:t>
            </a:r>
            <a:r>
              <a:rPr lang="en-US" dirty="0" err="1">
                <a:solidFill>
                  <a:srgbClr val="000000"/>
                </a:solidFill>
              </a:rPr>
              <a:t>Animationen</a:t>
            </a:r>
            <a:r>
              <a:rPr lang="en-US" dirty="0">
                <a:solidFill>
                  <a:srgbClr val="000000"/>
                </a:solidFill>
              </a:rPr>
              <a:t> auf </a:t>
            </a:r>
            <a:r>
              <a:rPr lang="en-US" dirty="0">
                <a:solidFill>
                  <a:srgbClr val="000000"/>
                </a:solidFill>
                <a:hlinkClick r:id="rId6"/>
              </a:rPr>
              <a:t>YouTube</a:t>
            </a:r>
            <a:endParaRPr lang="de-DE" dirty="0">
              <a:solidFill>
                <a:prstClr val="white"/>
              </a:solidFill>
            </a:endParaRPr>
          </a:p>
        </p:txBody>
      </p:sp>
      <p:pic>
        <p:nvPicPr>
          <p:cNvPr id="13" name="Picture 4" descr="T:\ASM\16-2509-ASM PPT Master - Schlussfolie\16-2408-ASM Smart SMT Factory Forum Logo_161013.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136" y="1671650"/>
            <a:ext cx="1173787" cy="118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4427984" y="555526"/>
            <a:ext cx="1764196"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a:t>
            </a:r>
            <a:r>
              <a:rPr lang="en-US" dirty="0" err="1">
                <a:solidFill>
                  <a:srgbClr val="000000"/>
                </a:solidFill>
              </a:rPr>
              <a:t>Professionel</a:t>
            </a:r>
            <a:r>
              <a:rPr lang="en-US" dirty="0">
                <a:solidFill>
                  <a:srgbClr val="000000"/>
                </a:solidFill>
              </a:rPr>
              <a:t> </a:t>
            </a:r>
            <a:r>
              <a:rPr lang="en-US" dirty="0" err="1">
                <a:solidFill>
                  <a:srgbClr val="000000"/>
                </a:solidFill>
              </a:rPr>
              <a:t>Networken</a:t>
            </a:r>
            <a:r>
              <a:rPr lang="en-US" dirty="0">
                <a:solidFill>
                  <a:srgbClr val="000000"/>
                </a:solidFill>
              </a:rPr>
              <a:t> </a:t>
            </a:r>
            <a:br>
              <a:rPr lang="en-US" dirty="0">
                <a:solidFill>
                  <a:srgbClr val="000000"/>
                </a:solidFill>
              </a:rPr>
            </a:br>
            <a:r>
              <a:rPr lang="en-US" dirty="0">
                <a:solidFill>
                  <a:srgbClr val="000000"/>
                </a:solidFill>
              </a:rPr>
              <a:t>  auf </a:t>
            </a:r>
            <a:r>
              <a:rPr lang="en-US" dirty="0">
                <a:solidFill>
                  <a:srgbClr val="000000"/>
                </a:solidFill>
                <a:hlinkClick r:id="rId8"/>
              </a:rPr>
              <a:t>Xing</a:t>
            </a:r>
            <a:r>
              <a:rPr lang="en-US" dirty="0">
                <a:solidFill>
                  <a:srgbClr val="000000"/>
                </a:solidFill>
              </a:rPr>
              <a:t> und </a:t>
            </a:r>
            <a:r>
              <a:rPr lang="en-US" dirty="0">
                <a:solidFill>
                  <a:srgbClr val="000000"/>
                </a:solidFill>
                <a:hlinkClick r:id="rId9"/>
              </a:rPr>
              <a:t>LinkedIn</a:t>
            </a:r>
            <a:endParaRPr lang="en-US" dirty="0">
              <a:solidFill>
                <a:srgbClr val="000000"/>
              </a:solidFill>
            </a:endParaRPr>
          </a:p>
        </p:txBody>
      </p:sp>
      <p:pic>
        <p:nvPicPr>
          <p:cNvPr id="15" name="Picture 6" descr="T:\ASM\16-2509-ASM PPT Master - Schlussfolie\LinkedIn.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04000" y="519522"/>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userDrawn="1"/>
        </p:nvSpPr>
        <p:spPr>
          <a:xfrm>
            <a:off x="1756232" y="987574"/>
            <a:ext cx="1591632"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err="1">
                <a:solidFill>
                  <a:srgbClr val="000000"/>
                </a:solidFill>
              </a:rPr>
              <a:t>Aktuelle</a:t>
            </a:r>
            <a:r>
              <a:rPr lang="en-US" dirty="0">
                <a:solidFill>
                  <a:srgbClr val="000000"/>
                </a:solidFill>
              </a:rPr>
              <a:t> </a:t>
            </a:r>
            <a:r>
              <a:rPr lang="en-US" dirty="0" err="1">
                <a:solidFill>
                  <a:srgbClr val="000000"/>
                </a:solidFill>
              </a:rPr>
              <a:t>Informationen</a:t>
            </a:r>
            <a:r>
              <a:rPr lang="en-US" dirty="0">
                <a:solidFill>
                  <a:srgbClr val="000000"/>
                </a:solidFill>
              </a:rPr>
              <a:t> </a:t>
            </a:r>
            <a:br>
              <a:rPr lang="en-US" dirty="0">
                <a:solidFill>
                  <a:srgbClr val="000000"/>
                </a:solidFill>
              </a:rPr>
            </a:br>
            <a:r>
              <a:rPr lang="en-US" dirty="0">
                <a:solidFill>
                  <a:srgbClr val="000000"/>
                </a:solidFill>
              </a:rPr>
              <a:t>auf </a:t>
            </a:r>
            <a:r>
              <a:rPr lang="en-US" dirty="0">
                <a:solidFill>
                  <a:srgbClr val="000000"/>
                </a:solidFill>
                <a:hlinkClick r:id="rId11"/>
              </a:rPr>
              <a:t>Facebook</a:t>
            </a:r>
            <a:endParaRPr lang="en-US" dirty="0">
              <a:solidFill>
                <a:srgbClr val="000000"/>
              </a:solidFill>
            </a:endParaRPr>
          </a:p>
        </p:txBody>
      </p:sp>
      <p:pic>
        <p:nvPicPr>
          <p:cNvPr id="17" name="Picture 7" descr="T:\ASM\16-2509-ASM PPT Master - Schlussfolie\FaceBook.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458832" y="636192"/>
            <a:ext cx="46800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ASM\16-2509-ASM PPT Master - Schlussfolie\YouTub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3568" y="1347614"/>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userDrawn="1"/>
        </p:nvSpPr>
        <p:spPr>
          <a:xfrm>
            <a:off x="1511661" y="2875707"/>
            <a:ext cx="1944000"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a:t>
            </a:r>
            <a:r>
              <a:rPr lang="en-US" dirty="0" err="1">
                <a:solidFill>
                  <a:srgbClr val="000000"/>
                </a:solidFill>
              </a:rPr>
              <a:t>Umfangreiche</a:t>
            </a:r>
            <a:r>
              <a:rPr lang="en-US" dirty="0">
                <a:solidFill>
                  <a:srgbClr val="000000"/>
                </a:solidFill>
              </a:rPr>
              <a:t> ASM Online-Tools  </a:t>
            </a:r>
            <a:r>
              <a:rPr lang="en-US" dirty="0" err="1">
                <a:solidFill>
                  <a:srgbClr val="000000"/>
                </a:solidFill>
              </a:rPr>
              <a:t>unter</a:t>
            </a:r>
            <a:r>
              <a:rPr lang="en-US" dirty="0">
                <a:solidFill>
                  <a:srgbClr val="000000"/>
                </a:solidFill>
              </a:rPr>
              <a:t> </a:t>
            </a:r>
            <a:r>
              <a:rPr lang="en-US" dirty="0" err="1">
                <a:solidFill>
                  <a:srgbClr val="000000"/>
                </a:solidFill>
                <a:hlinkClick r:id="rId14"/>
              </a:rPr>
              <a:t>MyASM</a:t>
            </a:r>
            <a:r>
              <a:rPr lang="en-US" dirty="0">
                <a:solidFill>
                  <a:srgbClr val="000000"/>
                </a:solidFill>
              </a:rPr>
              <a:t> </a:t>
            </a:r>
          </a:p>
        </p:txBody>
      </p:sp>
      <p:pic>
        <p:nvPicPr>
          <p:cNvPr id="20" name="Picture 2" descr="T:\ASM\16-2509-ASM PPT Master - Schlussfolie\Xing.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688176" y="15948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T:\ASM\16-2509-ASM PPT Master - Schlussfolie\MyASM.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7584" y="2679762"/>
            <a:ext cx="755076" cy="79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userDrawn="1"/>
        </p:nvSpPr>
        <p:spPr>
          <a:xfrm>
            <a:off x="3635876" y="2175706"/>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dirty="0">
                <a:solidFill>
                  <a:srgbClr val="000000"/>
                </a:solidFill>
                <a:hlinkClick r:id="rId17"/>
              </a:rPr>
              <a:t>Newsletter</a:t>
            </a:r>
            <a:endParaRPr lang="en-US" dirty="0">
              <a:solidFill>
                <a:srgbClr val="000000"/>
              </a:solidFill>
            </a:endParaRPr>
          </a:p>
        </p:txBody>
      </p:sp>
      <p:pic>
        <p:nvPicPr>
          <p:cNvPr id="23"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207506" y="2071704"/>
            <a:ext cx="467999" cy="468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1"/>
          <p:cNvSpPr txBox="1"/>
          <p:nvPr userDrawn="1"/>
        </p:nvSpPr>
        <p:spPr>
          <a:xfrm>
            <a:off x="823906" y="4079960"/>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u="sng" dirty="0">
                <a:solidFill>
                  <a:srgbClr val="AA312C"/>
                </a:solidFill>
                <a:hlinkClick r:id="rId14"/>
              </a:rPr>
              <a:t>Website</a:t>
            </a:r>
            <a:endParaRPr lang="en-US" u="sng" dirty="0">
              <a:solidFill>
                <a:srgbClr val="AA312C"/>
              </a:solidFill>
            </a:endParaRPr>
          </a:p>
        </p:txBody>
      </p:sp>
      <p:sp>
        <p:nvSpPr>
          <p:cNvPr id="25" name="Oval 24"/>
          <p:cNvSpPr/>
          <p:nvPr userDrawn="1"/>
        </p:nvSpPr>
        <p:spPr>
          <a:xfrm>
            <a:off x="381809" y="3975958"/>
            <a:ext cx="468052" cy="468000"/>
          </a:xfrm>
          <a:prstGeom prst="ellipse">
            <a:avLst/>
          </a:prstGeom>
          <a:solidFill>
            <a:schemeClr val="accent1"/>
          </a:solidFill>
          <a:ln w="19050">
            <a:solidFill>
              <a:srgbClr val="8989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6" name="TextBox 25"/>
          <p:cNvSpPr txBox="1"/>
          <p:nvPr userDrawn="1"/>
        </p:nvSpPr>
        <p:spPr>
          <a:xfrm>
            <a:off x="336954" y="4047914"/>
            <a:ext cx="545342" cy="276999"/>
          </a:xfrm>
          <a:prstGeom prst="rect">
            <a:avLst/>
          </a:prstGeom>
          <a:noFill/>
        </p:spPr>
        <p:txBody>
          <a:bodyPr wrap="none" rtlCol="0">
            <a:spAutoFit/>
          </a:bodyPr>
          <a:lstStyle/>
          <a:p>
            <a:r>
              <a:rPr lang="de-DE" sz="1200" b="1" dirty="0" err="1">
                <a:solidFill>
                  <a:prstClr val="white"/>
                </a:solidFill>
              </a:rPr>
              <a:t>www</a:t>
            </a:r>
            <a:endParaRPr lang="de-DE" sz="1200" b="1" dirty="0">
              <a:solidFill>
                <a:prstClr val="white"/>
              </a:solidFill>
            </a:endParaRPr>
          </a:p>
        </p:txBody>
      </p:sp>
    </p:spTree>
    <p:extLst>
      <p:ext uri="{BB962C8B-B14F-4D97-AF65-F5344CB8AC3E}">
        <p14:creationId xmlns:p14="http://schemas.microsoft.com/office/powerpoint/2010/main" val="653217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 preserve="1">
  <p:cSld name="Thank You_EN">
    <p:spTree>
      <p:nvGrpSpPr>
        <p:cNvPr id="1" name=""/>
        <p:cNvGrpSpPr/>
        <p:nvPr/>
      </p:nvGrpSpPr>
      <p:grpSpPr>
        <a:xfrm>
          <a:off x="0" y="0"/>
          <a:ext cx="0" cy="0"/>
          <a:chOff x="0" y="0"/>
          <a:chExt cx="0" cy="0"/>
        </a:xfrm>
      </p:grpSpPr>
      <p:grpSp>
        <p:nvGrpSpPr>
          <p:cNvPr id="4" name="Gruppieren 3"/>
          <p:cNvGrpSpPr/>
          <p:nvPr userDrawn="1"/>
        </p:nvGrpSpPr>
        <p:grpSpPr>
          <a:xfrm>
            <a:off x="0" y="0"/>
            <a:ext cx="9144000" cy="5141913"/>
            <a:chOff x="0" y="0"/>
            <a:chExt cx="9144000" cy="5141913"/>
          </a:xfrm>
        </p:grpSpPr>
        <p:sp>
          <p:nvSpPr>
            <p:cNvPr id="5" name="Rechteck 4"/>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bg1"/>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9"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userDrawn="1"/>
        </p:nvSpPr>
        <p:spPr>
          <a:xfrm>
            <a:off x="6372200" y="2675696"/>
            <a:ext cx="2016224" cy="400110"/>
          </a:xfrm>
          <a:prstGeom prst="rect">
            <a:avLst/>
          </a:prstGeom>
          <a:solidFill>
            <a:schemeClr val="bg1"/>
          </a:solidFill>
        </p:spPr>
        <p:txBody>
          <a:bodyPr wrap="square" rtlCol="0">
            <a:spAutoFit/>
          </a:bodyPr>
          <a:lstStyle/>
          <a:p>
            <a:r>
              <a:rPr lang="en-US" sz="1000" b="1" dirty="0">
                <a:solidFill>
                  <a:prstClr val="white"/>
                </a:solidFill>
              </a:rPr>
              <a:t>          </a:t>
            </a:r>
            <a:r>
              <a:rPr lang="en-US" sz="1000" b="1" dirty="0">
                <a:solidFill>
                  <a:srgbClr val="000000"/>
                </a:solidFill>
              </a:rPr>
              <a:t>Stay informed via Blog:</a:t>
            </a:r>
          </a:p>
          <a:p>
            <a:r>
              <a:rPr lang="en-US" sz="1000" b="1" dirty="0">
                <a:solidFill>
                  <a:prstClr val="white"/>
                </a:solidFill>
                <a:hlinkClick r:id="rId5"/>
              </a:rPr>
              <a:t>Smart SMT Factory Forum</a:t>
            </a:r>
            <a:endParaRPr lang="en-US" sz="1000" b="1" dirty="0">
              <a:solidFill>
                <a:prstClr val="white"/>
              </a:solidFill>
            </a:endParaRPr>
          </a:p>
        </p:txBody>
      </p:sp>
      <p:sp>
        <p:nvSpPr>
          <p:cNvPr id="12" name="Textfeld 11"/>
          <p:cNvSpPr txBox="1"/>
          <p:nvPr userDrawn="1"/>
        </p:nvSpPr>
        <p:spPr>
          <a:xfrm>
            <a:off x="1063034" y="1559572"/>
            <a:ext cx="1816778"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ll videos </a:t>
            </a:r>
            <a:r>
              <a:rPr lang="en-US">
                <a:solidFill>
                  <a:srgbClr val="000000"/>
                </a:solidFill>
              </a:rPr>
              <a:t>&amp; animations </a:t>
            </a:r>
            <a:br>
              <a:rPr lang="en-US">
                <a:solidFill>
                  <a:srgbClr val="000000"/>
                </a:solidFill>
              </a:rPr>
            </a:br>
            <a:r>
              <a:rPr lang="en-US">
                <a:solidFill>
                  <a:srgbClr val="000000"/>
                </a:solidFill>
              </a:rPr>
              <a:t>on </a:t>
            </a:r>
            <a:r>
              <a:rPr lang="en-US" dirty="0">
                <a:solidFill>
                  <a:srgbClr val="000000"/>
                </a:solidFill>
                <a:hlinkClick r:id="rId6"/>
              </a:rPr>
              <a:t>YouTube</a:t>
            </a:r>
            <a:endParaRPr lang="de-DE" dirty="0">
              <a:solidFill>
                <a:prstClr val="white"/>
              </a:solidFill>
            </a:endParaRPr>
          </a:p>
        </p:txBody>
      </p:sp>
      <p:pic>
        <p:nvPicPr>
          <p:cNvPr id="13" name="Picture 4" descr="T:\ASM\16-2509-ASM PPT Master - Schlussfolie\16-2408-ASM Smart SMT Factory Forum Logo_161013.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136" y="1671650"/>
            <a:ext cx="1173787" cy="118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4427984" y="555526"/>
            <a:ext cx="1764196"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Professional network </a:t>
            </a:r>
            <a:br>
              <a:rPr lang="en-US" dirty="0">
                <a:solidFill>
                  <a:srgbClr val="000000"/>
                </a:solidFill>
              </a:rPr>
            </a:br>
            <a:r>
              <a:rPr lang="en-US" dirty="0">
                <a:solidFill>
                  <a:srgbClr val="000000"/>
                </a:solidFill>
              </a:rPr>
              <a:t>  on </a:t>
            </a:r>
            <a:r>
              <a:rPr lang="en-US" dirty="0">
                <a:solidFill>
                  <a:srgbClr val="000000"/>
                </a:solidFill>
                <a:hlinkClick r:id="rId8"/>
              </a:rPr>
              <a:t>Xing</a:t>
            </a:r>
            <a:r>
              <a:rPr lang="en-US" dirty="0">
                <a:solidFill>
                  <a:srgbClr val="000000"/>
                </a:solidFill>
              </a:rPr>
              <a:t> and </a:t>
            </a:r>
            <a:r>
              <a:rPr lang="en-US" dirty="0">
                <a:solidFill>
                  <a:srgbClr val="000000"/>
                </a:solidFill>
                <a:hlinkClick r:id="rId9"/>
              </a:rPr>
              <a:t>LinkedIn</a:t>
            </a:r>
            <a:endParaRPr lang="en-US" dirty="0">
              <a:solidFill>
                <a:srgbClr val="000000"/>
              </a:solidFill>
            </a:endParaRPr>
          </a:p>
        </p:txBody>
      </p:sp>
      <p:pic>
        <p:nvPicPr>
          <p:cNvPr id="15" name="Picture 6" descr="T:\ASM\16-2509-ASM PPT Master - Schlussfolie\LinkedIn.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04000" y="519522"/>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userDrawn="1"/>
        </p:nvSpPr>
        <p:spPr>
          <a:xfrm>
            <a:off x="1756232" y="987574"/>
            <a:ext cx="1591632"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Latest information </a:t>
            </a:r>
            <a:br>
              <a:rPr lang="en-US" dirty="0">
                <a:solidFill>
                  <a:srgbClr val="000000"/>
                </a:solidFill>
              </a:rPr>
            </a:br>
            <a:r>
              <a:rPr lang="en-US" dirty="0">
                <a:solidFill>
                  <a:srgbClr val="000000"/>
                </a:solidFill>
              </a:rPr>
              <a:t>on </a:t>
            </a:r>
            <a:r>
              <a:rPr lang="en-US" dirty="0" err="1">
                <a:solidFill>
                  <a:srgbClr val="000000"/>
                </a:solidFill>
                <a:hlinkClick r:id="rId11"/>
              </a:rPr>
              <a:t>facebook</a:t>
            </a:r>
            <a:endParaRPr lang="en-US" dirty="0">
              <a:solidFill>
                <a:srgbClr val="000000"/>
              </a:solidFill>
            </a:endParaRPr>
          </a:p>
        </p:txBody>
      </p:sp>
      <p:pic>
        <p:nvPicPr>
          <p:cNvPr id="17" name="Picture 7" descr="T:\ASM\16-2509-ASM PPT Master - Schlussfolie\FaceBook.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458832" y="636192"/>
            <a:ext cx="46800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ASM\16-2509-ASM PPT Master - Schlussfolie\YouTub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3568" y="1347614"/>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userDrawn="1"/>
        </p:nvSpPr>
        <p:spPr>
          <a:xfrm>
            <a:off x="1511661" y="2875707"/>
            <a:ext cx="1944000"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 All ASM online tools</a:t>
            </a:r>
            <a:br>
              <a:rPr lang="en-US" dirty="0">
                <a:solidFill>
                  <a:srgbClr val="000000"/>
                </a:solidFill>
              </a:rPr>
            </a:br>
            <a:r>
              <a:rPr lang="en-US" dirty="0">
                <a:solidFill>
                  <a:srgbClr val="000000"/>
                </a:solidFill>
              </a:rPr>
              <a:t> at a glance  </a:t>
            </a:r>
            <a:r>
              <a:rPr lang="en-US" dirty="0" err="1">
                <a:solidFill>
                  <a:srgbClr val="000000"/>
                </a:solidFill>
                <a:hlinkClick r:id="rId14"/>
              </a:rPr>
              <a:t>MyASM</a:t>
            </a:r>
            <a:r>
              <a:rPr lang="en-US" dirty="0">
                <a:solidFill>
                  <a:srgbClr val="000000"/>
                </a:solidFill>
              </a:rPr>
              <a:t> </a:t>
            </a:r>
          </a:p>
        </p:txBody>
      </p:sp>
      <p:pic>
        <p:nvPicPr>
          <p:cNvPr id="20" name="Picture 2" descr="T:\ASM\16-2509-ASM PPT Master - Schlussfolie\Xing.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688176" y="15948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T:\ASM\16-2509-ASM PPT Master - Schlussfolie\MyASM.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7584" y="2679762"/>
            <a:ext cx="755076" cy="79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userDrawn="1"/>
        </p:nvSpPr>
        <p:spPr>
          <a:xfrm>
            <a:off x="3635876" y="2175706"/>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dirty="0">
                <a:solidFill>
                  <a:srgbClr val="000000"/>
                </a:solidFill>
                <a:hlinkClick r:id="rId17"/>
              </a:rPr>
              <a:t>Newsletter</a:t>
            </a:r>
            <a:endParaRPr lang="en-US" dirty="0">
              <a:solidFill>
                <a:srgbClr val="000000"/>
              </a:solidFill>
            </a:endParaRPr>
          </a:p>
        </p:txBody>
      </p:sp>
      <p:pic>
        <p:nvPicPr>
          <p:cNvPr id="23"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207506" y="2071704"/>
            <a:ext cx="467999" cy="468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1"/>
          <p:cNvSpPr txBox="1"/>
          <p:nvPr userDrawn="1"/>
        </p:nvSpPr>
        <p:spPr>
          <a:xfrm>
            <a:off x="823906" y="4079960"/>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r>
              <a:rPr lang="en-US" dirty="0">
                <a:solidFill>
                  <a:srgbClr val="000000"/>
                </a:solidFill>
              </a:rPr>
              <a:t>ASM </a:t>
            </a:r>
            <a:r>
              <a:rPr lang="en-US" u="sng" dirty="0">
                <a:solidFill>
                  <a:srgbClr val="AA312C"/>
                </a:solidFill>
                <a:hlinkClick r:id="rId14"/>
              </a:rPr>
              <a:t>Website</a:t>
            </a:r>
            <a:endParaRPr lang="en-US" u="sng" dirty="0">
              <a:solidFill>
                <a:srgbClr val="AA312C"/>
              </a:solidFill>
            </a:endParaRPr>
          </a:p>
        </p:txBody>
      </p:sp>
      <p:sp>
        <p:nvSpPr>
          <p:cNvPr id="25" name="Oval 24"/>
          <p:cNvSpPr/>
          <p:nvPr userDrawn="1"/>
        </p:nvSpPr>
        <p:spPr>
          <a:xfrm>
            <a:off x="381809" y="3975958"/>
            <a:ext cx="468052" cy="468000"/>
          </a:xfrm>
          <a:prstGeom prst="ellipse">
            <a:avLst/>
          </a:prstGeom>
          <a:solidFill>
            <a:schemeClr val="accent1"/>
          </a:solidFill>
          <a:ln w="19050">
            <a:solidFill>
              <a:srgbClr val="8989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6" name="TextBox 25"/>
          <p:cNvSpPr txBox="1"/>
          <p:nvPr userDrawn="1"/>
        </p:nvSpPr>
        <p:spPr>
          <a:xfrm>
            <a:off x="336954" y="4047914"/>
            <a:ext cx="545342" cy="276999"/>
          </a:xfrm>
          <a:prstGeom prst="rect">
            <a:avLst/>
          </a:prstGeom>
          <a:noFill/>
        </p:spPr>
        <p:txBody>
          <a:bodyPr wrap="none" rtlCol="0">
            <a:spAutoFit/>
          </a:bodyPr>
          <a:lstStyle/>
          <a:p>
            <a:r>
              <a:rPr lang="de-DE" sz="1200" b="1" dirty="0" err="1">
                <a:solidFill>
                  <a:prstClr val="white"/>
                </a:solidFill>
              </a:rPr>
              <a:t>www</a:t>
            </a:r>
            <a:endParaRPr lang="de-DE" sz="1200" b="1" dirty="0">
              <a:solidFill>
                <a:prstClr val="white"/>
              </a:solidFill>
            </a:endParaRPr>
          </a:p>
        </p:txBody>
      </p:sp>
    </p:spTree>
    <p:extLst>
      <p:ext uri="{BB962C8B-B14F-4D97-AF65-F5344CB8AC3E}">
        <p14:creationId xmlns:p14="http://schemas.microsoft.com/office/powerpoint/2010/main" val="3444591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le_1">
    <p:spTree>
      <p:nvGrpSpPr>
        <p:cNvPr id="1" name=""/>
        <p:cNvGrpSpPr/>
        <p:nvPr/>
      </p:nvGrpSpPr>
      <p:grpSpPr>
        <a:xfrm>
          <a:off x="0" y="0"/>
          <a:ext cx="0" cy="0"/>
          <a:chOff x="0" y="0"/>
          <a:chExt cx="0" cy="0"/>
        </a:xfrm>
      </p:grpSpPr>
      <p:pic>
        <p:nvPicPr>
          <p:cNvPr id="8" name="Picture 4" descr="T:\ASM\16-2458-ASM PPT Company\Titel_0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628800"/>
            <a:ext cx="3816000" cy="766800"/>
          </a:xfrm>
        </p:spPr>
        <p:txBody>
          <a:bodyPr lIns="0" tIns="0" rIns="0" bIns="46800"/>
          <a:lstStyle>
            <a:lvl1pPr algn="l">
              <a:defRPr b="0">
                <a:solidFill>
                  <a:schemeClr val="accent2"/>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680000"/>
            <a:ext cx="3816000" cy="392400"/>
          </a:xfrm>
        </p:spPr>
        <p:txBody>
          <a:bodyPr>
            <a:noAutofit/>
          </a:bodyPr>
          <a:lstStyle>
            <a:lvl1pPr marL="0" indent="0" algn="l">
              <a:buNone/>
              <a:defRPr b="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6" name="Grafik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bwMode="auto">
          <a:xfrm>
            <a:off x="0" y="1"/>
            <a:ext cx="9143999" cy="352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106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Title_2">
    <p:spTree>
      <p:nvGrpSpPr>
        <p:cNvPr id="1" name=""/>
        <p:cNvGrpSpPr/>
        <p:nvPr/>
      </p:nvGrpSpPr>
      <p:grpSpPr>
        <a:xfrm>
          <a:off x="0" y="0"/>
          <a:ext cx="0" cy="0"/>
          <a:chOff x="0" y="0"/>
          <a:chExt cx="0" cy="0"/>
        </a:xfrm>
      </p:grpSpPr>
      <p:pic>
        <p:nvPicPr>
          <p:cNvPr id="8" name="Picture 4" descr="T:\ASM\16-2458-ASM PPT Company\Titel_0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075806"/>
            <a:ext cx="3816000" cy="766800"/>
          </a:xfrm>
        </p:spPr>
        <p:txBody>
          <a:bodyPr lIns="0" tIns="0" rIns="0" bIns="46800"/>
          <a:lstStyle>
            <a:lvl1pPr algn="l">
              <a:defRPr b="0">
                <a:solidFill>
                  <a:schemeClr val="accent2"/>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127006"/>
            <a:ext cx="3816000" cy="392400"/>
          </a:xfrm>
        </p:spPr>
        <p:txBody>
          <a:bodyPr>
            <a:noAutofit/>
          </a:bodyPr>
          <a:lstStyle>
            <a:lvl1pPr marL="0" indent="0" algn="l">
              <a:buNone/>
              <a:defRPr b="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4346000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3" name="Picture 2" descr="T:\ASM\16-2458-ASM PPT Company\number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777" y="4480018"/>
            <a:ext cx="443321" cy="39904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userDrawn="1">
            <p:ph type="dt" sz="half" idx="10"/>
          </p:nvPr>
        </p:nvSpPr>
        <p:spPr/>
        <p:txBody>
          <a:bodyPr/>
          <a:lstStyle/>
          <a:p>
            <a:fld id="{79F26052-9485-4A34-8C4D-1B52C302BD2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userDrawn="1">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userDrawn="1">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6" name="Textplatzhalter 6"/>
          <p:cNvSpPr>
            <a:spLocks noGrp="1"/>
          </p:cNvSpPr>
          <p:nvPr userDrawn="1">
            <p:ph type="body" sz="quarter" idx="13"/>
          </p:nvPr>
        </p:nvSpPr>
        <p:spPr>
          <a:xfrm>
            <a:off x="2484438" y="1275606"/>
            <a:ext cx="5040000" cy="360000"/>
          </a:xfrm>
        </p:spPr>
        <p:txBody>
          <a:bodyPr anchor="ctr" anchorCtr="0"/>
          <a:lstStyle>
            <a:lvl1pPr>
              <a:defRPr>
                <a:solidFill>
                  <a:schemeClr val="tx1"/>
                </a:solidFill>
              </a:defRPr>
            </a:lvl1pPr>
          </a:lstStyle>
          <a:p>
            <a:pPr lvl="0"/>
            <a:r>
              <a:rPr lang="de-DE" dirty="0"/>
              <a:t>Textmasterformat bearbeiten</a:t>
            </a:r>
          </a:p>
        </p:txBody>
      </p:sp>
      <p:sp>
        <p:nvSpPr>
          <p:cNvPr id="17" name="Textplatzhalter 6"/>
          <p:cNvSpPr>
            <a:spLocks noGrp="1"/>
          </p:cNvSpPr>
          <p:nvPr userDrawn="1">
            <p:ph type="body" sz="quarter" idx="14"/>
          </p:nvPr>
        </p:nvSpPr>
        <p:spPr>
          <a:xfrm>
            <a:off x="2484438" y="4443998"/>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8" name="Textplatzhalter 6"/>
          <p:cNvSpPr>
            <a:spLocks noGrp="1"/>
          </p:cNvSpPr>
          <p:nvPr userDrawn="1">
            <p:ph type="body" sz="quarter" idx="15"/>
          </p:nvPr>
        </p:nvSpPr>
        <p:spPr>
          <a:xfrm>
            <a:off x="2484438" y="4047949"/>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9" name="Textplatzhalter 6"/>
          <p:cNvSpPr>
            <a:spLocks noGrp="1"/>
          </p:cNvSpPr>
          <p:nvPr userDrawn="1">
            <p:ph type="body" sz="quarter" idx="16"/>
          </p:nvPr>
        </p:nvSpPr>
        <p:spPr>
          <a:xfrm>
            <a:off x="2484438" y="3651900"/>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0" name="Textplatzhalter 6"/>
          <p:cNvSpPr>
            <a:spLocks noGrp="1"/>
          </p:cNvSpPr>
          <p:nvPr userDrawn="1">
            <p:ph type="body" sz="quarter" idx="17"/>
          </p:nvPr>
        </p:nvSpPr>
        <p:spPr>
          <a:xfrm>
            <a:off x="2484438" y="3255851"/>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1" name="Textplatzhalter 6"/>
          <p:cNvSpPr>
            <a:spLocks noGrp="1"/>
          </p:cNvSpPr>
          <p:nvPr userDrawn="1">
            <p:ph type="body" sz="quarter" idx="18"/>
          </p:nvPr>
        </p:nvSpPr>
        <p:spPr>
          <a:xfrm>
            <a:off x="2484438" y="2859802"/>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2" name="Textplatzhalter 6"/>
          <p:cNvSpPr>
            <a:spLocks noGrp="1"/>
          </p:cNvSpPr>
          <p:nvPr userDrawn="1">
            <p:ph type="body" sz="quarter" idx="19"/>
          </p:nvPr>
        </p:nvSpPr>
        <p:spPr>
          <a:xfrm>
            <a:off x="2484438" y="2463753"/>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3" name="Textplatzhalter 6"/>
          <p:cNvSpPr>
            <a:spLocks noGrp="1"/>
          </p:cNvSpPr>
          <p:nvPr userDrawn="1">
            <p:ph type="body" sz="quarter" idx="20"/>
          </p:nvPr>
        </p:nvSpPr>
        <p:spPr>
          <a:xfrm>
            <a:off x="2484438" y="2067704"/>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4" name="Textplatzhalter 6"/>
          <p:cNvSpPr>
            <a:spLocks noGrp="1"/>
          </p:cNvSpPr>
          <p:nvPr userDrawn="1">
            <p:ph type="body" sz="quarter" idx="21"/>
          </p:nvPr>
        </p:nvSpPr>
        <p:spPr>
          <a:xfrm>
            <a:off x="2484438" y="1671655"/>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grpSp>
        <p:nvGrpSpPr>
          <p:cNvPr id="31" name="Gruppieren 30"/>
          <p:cNvGrpSpPr/>
          <p:nvPr userDrawn="1"/>
        </p:nvGrpSpPr>
        <p:grpSpPr>
          <a:xfrm>
            <a:off x="0" y="900"/>
            <a:ext cx="9144000" cy="432000"/>
            <a:chOff x="0" y="900"/>
            <a:chExt cx="9144000" cy="432000"/>
          </a:xfrm>
        </p:grpSpPr>
        <p:sp>
          <p:nvSpPr>
            <p:cNvPr id="33" name="Rechteck 32"/>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34"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uppieren 27"/>
          <p:cNvGrpSpPr/>
          <p:nvPr userDrawn="1"/>
        </p:nvGrpSpPr>
        <p:grpSpPr>
          <a:xfrm>
            <a:off x="2470150" y="4922730"/>
            <a:ext cx="6423024" cy="138036"/>
            <a:chOff x="2470150" y="4922730"/>
            <a:chExt cx="6423024" cy="138036"/>
          </a:xfrm>
        </p:grpSpPr>
        <p:sp>
          <p:nvSpPr>
            <p:cNvPr id="2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3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Tree>
    <p:extLst>
      <p:ext uri="{BB962C8B-B14F-4D97-AF65-F5344CB8AC3E}">
        <p14:creationId xmlns:p14="http://schemas.microsoft.com/office/powerpoint/2010/main" val="30216727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tandard_Text_1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CE4F27C-3F5F-4598-8485-275A0ABFE4F3}"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8"/>
            <a:ext cx="748952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87478023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9"/>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472793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_2 Text Container_2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CB514B5-08A6-4375-ABAC-5336E5A7914A}"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350" y="1563688"/>
            <a:ext cx="5329238"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57" y="3258000"/>
            <a:ext cx="5329239"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8"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8"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42635121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tandard_Text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3DD3B80-5252-4235-9B5D-3287684B330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8"/>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0"/>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10882940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tandard_Text_2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55403110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tandard_Text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98864358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tandard_Text_3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6"/>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25303306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tandard_Text_4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Textplatzhalter 6"/>
          <p:cNvSpPr>
            <a:spLocks noGrp="1"/>
          </p:cNvSpPr>
          <p:nvPr>
            <p:ph type="body" sz="quarter" idx="16"/>
          </p:nvPr>
        </p:nvSpPr>
        <p:spPr>
          <a:xfrm>
            <a:off x="467999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6"/>
          <p:cNvSpPr>
            <a:spLocks noGrp="1"/>
          </p:cNvSpPr>
          <p:nvPr>
            <p:ph type="body" sz="quarter" idx="17"/>
          </p:nvPr>
        </p:nvSpPr>
        <p:spPr>
          <a:xfrm>
            <a:off x="32384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34292047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tandard_Text_Table top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174125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tandard_Text_Table top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0000"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7049145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tandard_2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17572060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tandard_1 Text Container_2 Picture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7"/>
            <a:ext cx="53292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163429444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7"/>
            <a:ext cx="603451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7582328"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7582328"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7582328"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2810194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le_2">
    <p:spTree>
      <p:nvGrpSpPr>
        <p:cNvPr id="1" name=""/>
        <p:cNvGrpSpPr/>
        <p:nvPr/>
      </p:nvGrpSpPr>
      <p:grpSpPr>
        <a:xfrm>
          <a:off x="0" y="0"/>
          <a:ext cx="0" cy="0"/>
          <a:chOff x="0" y="0"/>
          <a:chExt cx="0" cy="0"/>
        </a:xfrm>
      </p:grpSpPr>
      <p:grpSp>
        <p:nvGrpSpPr>
          <p:cNvPr id="5" name="Gruppieren 4"/>
          <p:cNvGrpSpPr/>
          <p:nvPr userDrawn="1"/>
        </p:nvGrpSpPr>
        <p:grpSpPr>
          <a:xfrm>
            <a:off x="0" y="2"/>
            <a:ext cx="9144000" cy="5141913"/>
            <a:chOff x="0" y="0"/>
            <a:chExt cx="9144000" cy="5141913"/>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7"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255826"/>
            <a:ext cx="3816000" cy="766800"/>
          </a:xfrm>
        </p:spPr>
        <p:txBody>
          <a:bodyPr lIns="0" tIns="0" rIns="0" bIns="46800"/>
          <a:lstStyle>
            <a:lvl1pPr algn="l">
              <a:defRPr b="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307026"/>
            <a:ext cx="3816000" cy="392400"/>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2487050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ndard_3 Pictures_3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019BDBA-CB92-4A98-95C2-A177E2D5333A}"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9" y="1563688"/>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8" y="3831775"/>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2484439" y="2697731"/>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83404137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tandard_3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174833388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tandard_2 Pictures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EC2C4CB-926C-49F4-9D52-F4025282B75D}"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9" y="3258000"/>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232223777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tandard_2 Text Container_2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EC2C4CB-926C-49F4-9D52-F4025282B75D}"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8"/>
            <a:ext cx="5329238"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49" y="3258000"/>
            <a:ext cx="5329239"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14534971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tandard_3 Pictures_3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131274B-7B30-41F3-B3B7-AF5654DCA6C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8" y="3831775"/>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2484439" y="2697731"/>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215435736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tandard_3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131274B-7B30-41F3-B3B7-AF5654DCA6C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8"/>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50" y="3831775"/>
            <a:ext cx="6047282"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7595094"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1403349" y="2697731"/>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7595094"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7595094"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154731578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tandard_Grafik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30" name="Textplatzhalter 6"/>
          <p:cNvSpPr>
            <a:spLocks noGrp="1"/>
          </p:cNvSpPr>
          <p:nvPr>
            <p:ph type="body" sz="quarter" idx="13"/>
          </p:nvPr>
        </p:nvSpPr>
        <p:spPr>
          <a:xfrm>
            <a:off x="4643438" y="1563687"/>
            <a:ext cx="4249736" cy="32400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02098771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
    <p:spTree>
      <p:nvGrpSpPr>
        <p:cNvPr id="1" name=""/>
        <p:cNvGrpSpPr/>
        <p:nvPr/>
      </p:nvGrpSpPr>
      <p:grpSpPr>
        <a:xfrm>
          <a:off x="0" y="0"/>
          <a:ext cx="0" cy="0"/>
          <a:chOff x="0" y="0"/>
          <a:chExt cx="0" cy="0"/>
        </a:xfrm>
      </p:grpSpPr>
      <p:sp>
        <p:nvSpPr>
          <p:cNvPr id="9" name="Bildplatzhalter 7"/>
          <p:cNvSpPr>
            <a:spLocks noGrp="1"/>
          </p:cNvSpPr>
          <p:nvPr>
            <p:ph type="pic" sz="quarter" idx="14"/>
          </p:nvPr>
        </p:nvSpPr>
        <p:spPr>
          <a:xfrm>
            <a:off x="-3711" y="432000"/>
            <a:ext cx="2341174" cy="4712400"/>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174" h="4716161">
                <a:moveTo>
                  <a:pt x="1177" y="4716161"/>
                </a:moveTo>
                <a:cubicBezTo>
                  <a:pt x="-3734" y="3141290"/>
                  <a:pt x="8622" y="1574871"/>
                  <a:pt x="3711" y="0"/>
                </a:cubicBezTo>
                <a:lnTo>
                  <a:pt x="1437356" y="131"/>
                </a:lnTo>
                <a:lnTo>
                  <a:pt x="2341174" y="2824274"/>
                </a:lnTo>
                <a:lnTo>
                  <a:pt x="1396541" y="4713067"/>
                </a:lnTo>
                <a:lnTo>
                  <a:pt x="1177" y="4716161"/>
                </a:lnTo>
                <a:close/>
              </a:path>
            </a:pathLst>
          </a:custGeom>
        </p:spPr>
        <p:txBody>
          <a:bodyPr anchor="ctr"/>
          <a:lstStyle>
            <a:lvl1pPr algn="ctr">
              <a:defRPr/>
            </a:lvl1pPr>
          </a:lstStyle>
          <a:p>
            <a:endParaRPr lang="en-US"/>
          </a:p>
        </p:txBody>
      </p:sp>
      <p:sp>
        <p:nvSpPr>
          <p:cNvPr id="3" name="Datumsplatzhalter 2"/>
          <p:cNvSpPr>
            <a:spLocks noGrp="1"/>
          </p:cNvSpPr>
          <p:nvPr>
            <p:ph type="dt" sz="half" idx="10"/>
          </p:nvPr>
        </p:nvSpPr>
        <p:spPr/>
        <p:txBody>
          <a:bodyPr/>
          <a:lstStyle/>
          <a:p>
            <a:fld id="{2099C74F-881F-48BA-9300-FD43FD81899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8"/>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rapezoid 8"/>
          <p:cNvSpPr/>
          <p:nvPr userDrawn="1"/>
        </p:nvSpPr>
        <p:spPr>
          <a:xfrm>
            <a:off x="-4136" y="431999"/>
            <a:ext cx="2010432" cy="1801333"/>
          </a:xfrm>
          <a:custGeom>
            <a:avLst/>
            <a:gdLst>
              <a:gd name="connsiteX0" fmla="*/ 0 w 1475656"/>
              <a:gd name="connsiteY0" fmla="*/ 1080120 h 1080120"/>
              <a:gd name="connsiteX1" fmla="*/ 270030 w 1475656"/>
              <a:gd name="connsiteY1" fmla="*/ 0 h 1080120"/>
              <a:gd name="connsiteX2" fmla="*/ 1205626 w 1475656"/>
              <a:gd name="connsiteY2" fmla="*/ 0 h 1080120"/>
              <a:gd name="connsiteX3" fmla="*/ 1475656 w 1475656"/>
              <a:gd name="connsiteY3" fmla="*/ 1080120 h 1080120"/>
              <a:gd name="connsiteX4" fmla="*/ 0 w 1475656"/>
              <a:gd name="connsiteY4" fmla="*/ 1080120 h 1080120"/>
              <a:gd name="connsiteX0" fmla="*/ 0 w 1475656"/>
              <a:gd name="connsiteY0" fmla="*/ 1102559 h 1102559"/>
              <a:gd name="connsiteX1" fmla="*/ 758 w 1475656"/>
              <a:gd name="connsiteY1" fmla="*/ 0 h 1102559"/>
              <a:gd name="connsiteX2" fmla="*/ 1205626 w 1475656"/>
              <a:gd name="connsiteY2" fmla="*/ 22439 h 1102559"/>
              <a:gd name="connsiteX3" fmla="*/ 1475656 w 1475656"/>
              <a:gd name="connsiteY3" fmla="*/ 1102559 h 1102559"/>
              <a:gd name="connsiteX4" fmla="*/ 0 w 1475656"/>
              <a:gd name="connsiteY4" fmla="*/ 1102559 h 1102559"/>
              <a:gd name="connsiteX0" fmla="*/ 0 w 1761756"/>
              <a:gd name="connsiteY0" fmla="*/ 1102559 h 1164267"/>
              <a:gd name="connsiteX1" fmla="*/ 758 w 1761756"/>
              <a:gd name="connsiteY1" fmla="*/ 0 h 1164267"/>
              <a:gd name="connsiteX2" fmla="*/ 1205626 w 1761756"/>
              <a:gd name="connsiteY2" fmla="*/ 22439 h 1164267"/>
              <a:gd name="connsiteX3" fmla="*/ 1761756 w 1761756"/>
              <a:gd name="connsiteY3" fmla="*/ 1164267 h 1164267"/>
              <a:gd name="connsiteX4" fmla="*/ 0 w 1761756"/>
              <a:gd name="connsiteY4" fmla="*/ 1102559 h 1164267"/>
              <a:gd name="connsiteX0" fmla="*/ 0 w 1761756"/>
              <a:gd name="connsiteY0" fmla="*/ 1124999 h 1186707"/>
              <a:gd name="connsiteX1" fmla="*/ 758 w 1761756"/>
              <a:gd name="connsiteY1" fmla="*/ 22440 h 1186707"/>
              <a:gd name="connsiteX2" fmla="*/ 1379531 w 1761756"/>
              <a:gd name="connsiteY2" fmla="*/ 0 h 1186707"/>
              <a:gd name="connsiteX3" fmla="*/ 1761756 w 1761756"/>
              <a:gd name="connsiteY3" fmla="*/ 1186707 h 1186707"/>
              <a:gd name="connsiteX4" fmla="*/ 0 w 1761756"/>
              <a:gd name="connsiteY4" fmla="*/ 1124999 h 1186707"/>
              <a:gd name="connsiteX0" fmla="*/ 0 w 1767366"/>
              <a:gd name="connsiteY0" fmla="*/ 1338172 h 1338172"/>
              <a:gd name="connsiteX1" fmla="*/ 6368 w 1767366"/>
              <a:gd name="connsiteY1" fmla="*/ 22440 h 1338172"/>
              <a:gd name="connsiteX2" fmla="*/ 1385141 w 1767366"/>
              <a:gd name="connsiteY2" fmla="*/ 0 h 1338172"/>
              <a:gd name="connsiteX3" fmla="*/ 1767366 w 1767366"/>
              <a:gd name="connsiteY3" fmla="*/ 1186707 h 1338172"/>
              <a:gd name="connsiteX4" fmla="*/ 0 w 1767366"/>
              <a:gd name="connsiteY4" fmla="*/ 1338172 h 1338172"/>
              <a:gd name="connsiteX0" fmla="*/ 0 w 1801025"/>
              <a:gd name="connsiteY0" fmla="*/ 1338172 h 1338172"/>
              <a:gd name="connsiteX1" fmla="*/ 6368 w 1801025"/>
              <a:gd name="connsiteY1" fmla="*/ 22440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69743 w 1801025"/>
              <a:gd name="connsiteY1" fmla="*/ 117502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38056 w 1801025"/>
              <a:gd name="connsiteY1" fmla="*/ 198984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234057 h 1234057"/>
              <a:gd name="connsiteX1" fmla="*/ 38056 w 1801025"/>
              <a:gd name="connsiteY1" fmla="*/ 94869 h 1234057"/>
              <a:gd name="connsiteX2" fmla="*/ 1434935 w 1801025"/>
              <a:gd name="connsiteY2" fmla="*/ 0 h 1234057"/>
              <a:gd name="connsiteX3" fmla="*/ 1801025 w 1801025"/>
              <a:gd name="connsiteY3" fmla="*/ 1234057 h 1234057"/>
              <a:gd name="connsiteX4" fmla="*/ 0 w 1801025"/>
              <a:gd name="connsiteY4" fmla="*/ 1234057 h 1234057"/>
              <a:gd name="connsiteX0" fmla="*/ 0 w 1801025"/>
              <a:gd name="connsiteY0" fmla="*/ 1247634 h 1247634"/>
              <a:gd name="connsiteX1" fmla="*/ 38056 w 1801025"/>
              <a:gd name="connsiteY1" fmla="*/ 108446 h 1247634"/>
              <a:gd name="connsiteX2" fmla="*/ 4527 w 1801025"/>
              <a:gd name="connsiteY2" fmla="*/ 0 h 1247634"/>
              <a:gd name="connsiteX3" fmla="*/ 1434935 w 1801025"/>
              <a:gd name="connsiteY3" fmla="*/ 13577 h 1247634"/>
              <a:gd name="connsiteX4" fmla="*/ 1801025 w 1801025"/>
              <a:gd name="connsiteY4" fmla="*/ 1247634 h 1247634"/>
              <a:gd name="connsiteX5" fmla="*/ 0 w 1801025"/>
              <a:gd name="connsiteY5"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131473 w 1932498"/>
              <a:gd name="connsiteY0" fmla="*/ 1247634 h 1247634"/>
              <a:gd name="connsiteX1" fmla="*/ 136000 w 1932498"/>
              <a:gd name="connsiteY1" fmla="*/ 0 h 1247634"/>
              <a:gd name="connsiteX2" fmla="*/ 1566408 w 1932498"/>
              <a:gd name="connsiteY2" fmla="*/ 13577 h 1247634"/>
              <a:gd name="connsiteX3" fmla="*/ 1932498 w 1932498"/>
              <a:gd name="connsiteY3" fmla="*/ 1247634 h 1247634"/>
              <a:gd name="connsiteX4" fmla="*/ 131473 w 1932498"/>
              <a:gd name="connsiteY4" fmla="*/ 1247634 h 1247634"/>
              <a:gd name="connsiteX0" fmla="*/ 0 w 1801025"/>
              <a:gd name="connsiteY0" fmla="*/ 1247634 h 1247634"/>
              <a:gd name="connsiteX1" fmla="*/ 4527 w 1801025"/>
              <a:gd name="connsiteY1" fmla="*/ 0 h 1247634"/>
              <a:gd name="connsiteX2" fmla="*/ 1434935 w 1801025"/>
              <a:gd name="connsiteY2" fmla="*/ 13577 h 1247634"/>
              <a:gd name="connsiteX3" fmla="*/ 1801025 w 1801025"/>
              <a:gd name="connsiteY3" fmla="*/ 1247634 h 1247634"/>
              <a:gd name="connsiteX4" fmla="*/ 0 w 1801025"/>
              <a:gd name="connsiteY4" fmla="*/ 1247634 h 1247634"/>
              <a:gd name="connsiteX0" fmla="*/ 0 w 1801025"/>
              <a:gd name="connsiteY0" fmla="*/ 1249130 h 1249130"/>
              <a:gd name="connsiteX1" fmla="*/ 4527 w 1801025"/>
              <a:gd name="connsiteY1" fmla="*/ 1496 h 1249130"/>
              <a:gd name="connsiteX2" fmla="*/ 1424887 w 1801025"/>
              <a:gd name="connsiteY2" fmla="*/ 0 h 1249130"/>
              <a:gd name="connsiteX3" fmla="*/ 1801025 w 1801025"/>
              <a:gd name="connsiteY3" fmla="*/ 1249130 h 1249130"/>
              <a:gd name="connsiteX4" fmla="*/ 0 w 1801025"/>
              <a:gd name="connsiteY4" fmla="*/ 1249130 h 1249130"/>
              <a:gd name="connsiteX0" fmla="*/ 0 w 1836194"/>
              <a:gd name="connsiteY0" fmla="*/ 1249130 h 1249130"/>
              <a:gd name="connsiteX1" fmla="*/ 4527 w 1836194"/>
              <a:gd name="connsiteY1" fmla="*/ 1496 h 1249130"/>
              <a:gd name="connsiteX2" fmla="*/ 1424887 w 1836194"/>
              <a:gd name="connsiteY2" fmla="*/ 0 h 1249130"/>
              <a:gd name="connsiteX3" fmla="*/ 1836194 w 1836194"/>
              <a:gd name="connsiteY3" fmla="*/ 1249130 h 1249130"/>
              <a:gd name="connsiteX4" fmla="*/ 0 w 1836194"/>
              <a:gd name="connsiteY4" fmla="*/ 1249130 h 1249130"/>
              <a:gd name="connsiteX0" fmla="*/ 0 w 1836194"/>
              <a:gd name="connsiteY0" fmla="*/ 1249130 h 1249130"/>
              <a:gd name="connsiteX1" fmla="*/ 4527 w 1836194"/>
              <a:gd name="connsiteY1" fmla="*/ 1496 h 1249130"/>
              <a:gd name="connsiteX2" fmla="*/ 1439960 w 1836194"/>
              <a:gd name="connsiteY2" fmla="*/ 0 h 1249130"/>
              <a:gd name="connsiteX3" fmla="*/ 1836194 w 1836194"/>
              <a:gd name="connsiteY3" fmla="*/ 1249130 h 1249130"/>
              <a:gd name="connsiteX4" fmla="*/ 0 w 1836194"/>
              <a:gd name="connsiteY4" fmla="*/ 1249130 h 1249130"/>
              <a:gd name="connsiteX0" fmla="*/ 0 w 2002449"/>
              <a:gd name="connsiteY0" fmla="*/ 1249130 h 1795395"/>
              <a:gd name="connsiteX1" fmla="*/ 4527 w 2002449"/>
              <a:gd name="connsiteY1" fmla="*/ 1496 h 1795395"/>
              <a:gd name="connsiteX2" fmla="*/ 1439960 w 2002449"/>
              <a:gd name="connsiteY2" fmla="*/ 0 h 1795395"/>
              <a:gd name="connsiteX3" fmla="*/ 2002449 w 2002449"/>
              <a:gd name="connsiteY3" fmla="*/ 1795395 h 1795395"/>
              <a:gd name="connsiteX4" fmla="*/ 0 w 2002449"/>
              <a:gd name="connsiteY4" fmla="*/ 1249130 h 1795395"/>
              <a:gd name="connsiteX0" fmla="*/ 0 w 2002449"/>
              <a:gd name="connsiteY0" fmla="*/ 1801333 h 1801333"/>
              <a:gd name="connsiteX1" fmla="*/ 4527 w 2002449"/>
              <a:gd name="connsiteY1" fmla="*/ 1496 h 1801333"/>
              <a:gd name="connsiteX2" fmla="*/ 1439960 w 2002449"/>
              <a:gd name="connsiteY2" fmla="*/ 0 h 1801333"/>
              <a:gd name="connsiteX3" fmla="*/ 2002449 w 2002449"/>
              <a:gd name="connsiteY3" fmla="*/ 1795395 h 1801333"/>
              <a:gd name="connsiteX4" fmla="*/ 0 w 2002449"/>
              <a:gd name="connsiteY4" fmla="*/ 1801333 h 1801333"/>
              <a:gd name="connsiteX0" fmla="*/ 3748 w 2006197"/>
              <a:gd name="connsiteY0" fmla="*/ 1801333 h 1801333"/>
              <a:gd name="connsiteX1" fmla="*/ 0 w 2006197"/>
              <a:gd name="connsiteY1" fmla="*/ 1496 h 1801333"/>
              <a:gd name="connsiteX2" fmla="*/ 1443708 w 2006197"/>
              <a:gd name="connsiteY2" fmla="*/ 0 h 1801333"/>
              <a:gd name="connsiteX3" fmla="*/ 2006197 w 2006197"/>
              <a:gd name="connsiteY3" fmla="*/ 1795395 h 1801333"/>
              <a:gd name="connsiteX4" fmla="*/ 3748 w 2006197"/>
              <a:gd name="connsiteY4" fmla="*/ 1801333 h 1801333"/>
              <a:gd name="connsiteX0" fmla="*/ 0 w 2006587"/>
              <a:gd name="connsiteY0" fmla="*/ 1801333 h 1801333"/>
              <a:gd name="connsiteX1" fmla="*/ 390 w 2006587"/>
              <a:gd name="connsiteY1" fmla="*/ 1496 h 1801333"/>
              <a:gd name="connsiteX2" fmla="*/ 1444098 w 2006587"/>
              <a:gd name="connsiteY2" fmla="*/ 0 h 1801333"/>
              <a:gd name="connsiteX3" fmla="*/ 2006587 w 2006587"/>
              <a:gd name="connsiteY3" fmla="*/ 1795395 h 1801333"/>
              <a:gd name="connsiteX4" fmla="*/ 0 w 2006587"/>
              <a:gd name="connsiteY4" fmla="*/ 1801333 h 1801333"/>
              <a:gd name="connsiteX0" fmla="*/ 0 w 2014862"/>
              <a:gd name="connsiteY0" fmla="*/ 1801333 h 1801333"/>
              <a:gd name="connsiteX1" fmla="*/ 390 w 2014862"/>
              <a:gd name="connsiteY1" fmla="*/ 1496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1333 h 1801333"/>
              <a:gd name="connsiteX1" fmla="*/ 91397 w 2014862"/>
              <a:gd name="connsiteY1" fmla="*/ 101170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8504 h 1808504"/>
              <a:gd name="connsiteX1" fmla="*/ 390 w 2014862"/>
              <a:gd name="connsiteY1" fmla="*/ 0 h 1808504"/>
              <a:gd name="connsiteX2" fmla="*/ 1444098 w 2014862"/>
              <a:gd name="connsiteY2" fmla="*/ 7171 h 1808504"/>
              <a:gd name="connsiteX3" fmla="*/ 2014862 w 2014862"/>
              <a:gd name="connsiteY3" fmla="*/ 1802566 h 1808504"/>
              <a:gd name="connsiteX4" fmla="*/ 0 w 2014862"/>
              <a:gd name="connsiteY4" fmla="*/ 1808504 h 1808504"/>
              <a:gd name="connsiteX0" fmla="*/ 8278 w 2023140"/>
              <a:gd name="connsiteY0" fmla="*/ 1804170 h 1804170"/>
              <a:gd name="connsiteX1" fmla="*/ 0 w 2023140"/>
              <a:gd name="connsiteY1" fmla="*/ 0 h 1804170"/>
              <a:gd name="connsiteX2" fmla="*/ 1452376 w 2023140"/>
              <a:gd name="connsiteY2" fmla="*/ 2837 h 1804170"/>
              <a:gd name="connsiteX3" fmla="*/ 2023140 w 2023140"/>
              <a:gd name="connsiteY3" fmla="*/ 1798232 h 1804170"/>
              <a:gd name="connsiteX4" fmla="*/ 8278 w 2023140"/>
              <a:gd name="connsiteY4" fmla="*/ 1804170 h 1804170"/>
              <a:gd name="connsiteX0" fmla="*/ 3944 w 2018806"/>
              <a:gd name="connsiteY0" fmla="*/ 1804170 h 1804170"/>
              <a:gd name="connsiteX1" fmla="*/ 0 w 2018806"/>
              <a:gd name="connsiteY1" fmla="*/ 0 h 1804170"/>
              <a:gd name="connsiteX2" fmla="*/ 1448042 w 2018806"/>
              <a:gd name="connsiteY2" fmla="*/ 2837 h 1804170"/>
              <a:gd name="connsiteX3" fmla="*/ 2018806 w 2018806"/>
              <a:gd name="connsiteY3" fmla="*/ 1798232 h 1804170"/>
              <a:gd name="connsiteX4" fmla="*/ 3944 w 2018806"/>
              <a:gd name="connsiteY4" fmla="*/ 1804170 h 1804170"/>
              <a:gd name="connsiteX0" fmla="*/ 0 w 2014862"/>
              <a:gd name="connsiteY0" fmla="*/ 1804170 h 1804170"/>
              <a:gd name="connsiteX1" fmla="*/ 9057 w 2014862"/>
              <a:gd name="connsiteY1" fmla="*/ 0 h 1804170"/>
              <a:gd name="connsiteX2" fmla="*/ 1444098 w 2014862"/>
              <a:gd name="connsiteY2" fmla="*/ 2837 h 1804170"/>
              <a:gd name="connsiteX3" fmla="*/ 2014862 w 2014862"/>
              <a:gd name="connsiteY3" fmla="*/ 1798232 h 1804170"/>
              <a:gd name="connsiteX4" fmla="*/ 0 w 2014862"/>
              <a:gd name="connsiteY4" fmla="*/ 1804170 h 1804170"/>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4723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1333 h 1801333"/>
              <a:gd name="connsiteX1" fmla="*/ 4723 w 2014862"/>
              <a:gd name="connsiteY1" fmla="*/ 5831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12837 h 1812837"/>
              <a:gd name="connsiteX1" fmla="*/ 389 w 2014862"/>
              <a:gd name="connsiteY1" fmla="*/ 0 h 1812837"/>
              <a:gd name="connsiteX2" fmla="*/ 1444098 w 2014862"/>
              <a:gd name="connsiteY2" fmla="*/ 11504 h 1812837"/>
              <a:gd name="connsiteX3" fmla="*/ 2014862 w 2014862"/>
              <a:gd name="connsiteY3" fmla="*/ 1806899 h 1812837"/>
              <a:gd name="connsiteX4" fmla="*/ 0 w 2014862"/>
              <a:gd name="connsiteY4" fmla="*/ 1812837 h 1812837"/>
              <a:gd name="connsiteX0" fmla="*/ 0 w 2014862"/>
              <a:gd name="connsiteY0" fmla="*/ 1801333 h 1801333"/>
              <a:gd name="connsiteX1" fmla="*/ 4722 w 2014862"/>
              <a:gd name="connsiteY1" fmla="*/ 1497 h 1801333"/>
              <a:gd name="connsiteX2" fmla="*/ 1444098 w 2014862"/>
              <a:gd name="connsiteY2" fmla="*/ 0 h 1801333"/>
              <a:gd name="connsiteX3" fmla="*/ 2014862 w 2014862"/>
              <a:gd name="connsiteY3" fmla="*/ 1795395 h 1801333"/>
              <a:gd name="connsiteX4" fmla="*/ 0 w 2014862"/>
              <a:gd name="connsiteY4" fmla="*/ 1801333 h 1801333"/>
              <a:gd name="connsiteX0" fmla="*/ 0 w 1949857"/>
              <a:gd name="connsiteY0" fmla="*/ 1801333 h 1801333"/>
              <a:gd name="connsiteX1" fmla="*/ 4722 w 1949857"/>
              <a:gd name="connsiteY1" fmla="*/ 1497 h 1801333"/>
              <a:gd name="connsiteX2" fmla="*/ 1444098 w 1949857"/>
              <a:gd name="connsiteY2" fmla="*/ 0 h 1801333"/>
              <a:gd name="connsiteX3" fmla="*/ 1949857 w 1949857"/>
              <a:gd name="connsiteY3" fmla="*/ 1795395 h 1801333"/>
              <a:gd name="connsiteX4" fmla="*/ 0 w 1949857"/>
              <a:gd name="connsiteY4" fmla="*/ 1801333 h 1801333"/>
              <a:gd name="connsiteX0" fmla="*/ 0 w 2010432"/>
              <a:gd name="connsiteY0" fmla="*/ 1801333 h 1801333"/>
              <a:gd name="connsiteX1" fmla="*/ 4722 w 2010432"/>
              <a:gd name="connsiteY1" fmla="*/ 1497 h 1801333"/>
              <a:gd name="connsiteX2" fmla="*/ 1444098 w 2010432"/>
              <a:gd name="connsiteY2" fmla="*/ 0 h 1801333"/>
              <a:gd name="connsiteX3" fmla="*/ 2010432 w 2010432"/>
              <a:gd name="connsiteY3" fmla="*/ 1792510 h 1801333"/>
              <a:gd name="connsiteX4" fmla="*/ 0 w 2010432"/>
              <a:gd name="connsiteY4" fmla="*/ 1801333 h 180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0432" h="1801333">
                <a:moveTo>
                  <a:pt x="0" y="1801333"/>
                </a:moveTo>
                <a:cubicBezTo>
                  <a:pt x="2035" y="1683829"/>
                  <a:pt x="6727" y="634228"/>
                  <a:pt x="4722" y="1497"/>
                </a:cubicBezTo>
                <a:lnTo>
                  <a:pt x="1444098" y="0"/>
                </a:lnTo>
                <a:lnTo>
                  <a:pt x="2010432" y="1792510"/>
                </a:lnTo>
                <a:lnTo>
                  <a:pt x="0" y="1801333"/>
                </a:lnTo>
                <a:close/>
              </a:path>
            </a:pathLst>
          </a:custGeom>
          <a:gradFill flip="none" rotWithShape="0">
            <a:gsLst>
              <a:gs pos="94000">
                <a:schemeClr val="bg1">
                  <a:alpha val="0"/>
                </a:schemeClr>
              </a:gs>
              <a:gs pos="42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dirty="0"/>
              <a:t>Titelmasterformat durch Klicken bearbeiten</a:t>
            </a:r>
            <a:endParaRPr lang="en-US" dirty="0"/>
          </a:p>
        </p:txBody>
      </p:sp>
    </p:spTree>
    <p:extLst>
      <p:ext uri="{BB962C8B-B14F-4D97-AF65-F5344CB8AC3E}">
        <p14:creationId xmlns:p14="http://schemas.microsoft.com/office/powerpoint/2010/main" val="69856203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_Benefi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2099C74F-881F-48BA-9300-FD43FD81899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9"/>
            <a:ext cx="6408736" cy="295275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7"/>
          <p:cNvSpPr>
            <a:spLocks noGrp="1"/>
          </p:cNvSpPr>
          <p:nvPr>
            <p:ph type="pic" sz="quarter" idx="14"/>
          </p:nvPr>
        </p:nvSpPr>
        <p:spPr>
          <a:xfrm>
            <a:off x="-3711" y="432000"/>
            <a:ext cx="2341174" cy="4712400"/>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174" h="4716161">
                <a:moveTo>
                  <a:pt x="1177" y="4716161"/>
                </a:moveTo>
                <a:cubicBezTo>
                  <a:pt x="-3734" y="3141290"/>
                  <a:pt x="8622" y="1574871"/>
                  <a:pt x="3711" y="0"/>
                </a:cubicBezTo>
                <a:lnTo>
                  <a:pt x="1437356" y="131"/>
                </a:lnTo>
                <a:lnTo>
                  <a:pt x="2341174" y="2824274"/>
                </a:lnTo>
                <a:lnTo>
                  <a:pt x="1396541" y="4713067"/>
                </a:lnTo>
                <a:lnTo>
                  <a:pt x="1177" y="4716161"/>
                </a:lnTo>
                <a:close/>
              </a:path>
            </a:pathLst>
          </a:custGeom>
        </p:spPr>
        <p:txBody>
          <a:bodyPr anchor="ctr"/>
          <a:lstStyle>
            <a:lvl1pPr algn="ctr">
              <a:defRPr/>
            </a:lvl1pPr>
          </a:lstStyle>
          <a:p>
            <a:endParaRPr lang="en-US"/>
          </a:p>
        </p:txBody>
      </p:sp>
      <p:sp>
        <p:nvSpPr>
          <p:cNvPr id="15" name="Trapezoid 8"/>
          <p:cNvSpPr/>
          <p:nvPr userDrawn="1"/>
        </p:nvSpPr>
        <p:spPr>
          <a:xfrm>
            <a:off x="-3600" y="432000"/>
            <a:ext cx="2002449" cy="1801333"/>
          </a:xfrm>
          <a:custGeom>
            <a:avLst/>
            <a:gdLst>
              <a:gd name="connsiteX0" fmla="*/ 0 w 1475656"/>
              <a:gd name="connsiteY0" fmla="*/ 1080120 h 1080120"/>
              <a:gd name="connsiteX1" fmla="*/ 270030 w 1475656"/>
              <a:gd name="connsiteY1" fmla="*/ 0 h 1080120"/>
              <a:gd name="connsiteX2" fmla="*/ 1205626 w 1475656"/>
              <a:gd name="connsiteY2" fmla="*/ 0 h 1080120"/>
              <a:gd name="connsiteX3" fmla="*/ 1475656 w 1475656"/>
              <a:gd name="connsiteY3" fmla="*/ 1080120 h 1080120"/>
              <a:gd name="connsiteX4" fmla="*/ 0 w 1475656"/>
              <a:gd name="connsiteY4" fmla="*/ 1080120 h 1080120"/>
              <a:gd name="connsiteX0" fmla="*/ 0 w 1475656"/>
              <a:gd name="connsiteY0" fmla="*/ 1102559 h 1102559"/>
              <a:gd name="connsiteX1" fmla="*/ 758 w 1475656"/>
              <a:gd name="connsiteY1" fmla="*/ 0 h 1102559"/>
              <a:gd name="connsiteX2" fmla="*/ 1205626 w 1475656"/>
              <a:gd name="connsiteY2" fmla="*/ 22439 h 1102559"/>
              <a:gd name="connsiteX3" fmla="*/ 1475656 w 1475656"/>
              <a:gd name="connsiteY3" fmla="*/ 1102559 h 1102559"/>
              <a:gd name="connsiteX4" fmla="*/ 0 w 1475656"/>
              <a:gd name="connsiteY4" fmla="*/ 1102559 h 1102559"/>
              <a:gd name="connsiteX0" fmla="*/ 0 w 1761756"/>
              <a:gd name="connsiteY0" fmla="*/ 1102559 h 1164267"/>
              <a:gd name="connsiteX1" fmla="*/ 758 w 1761756"/>
              <a:gd name="connsiteY1" fmla="*/ 0 h 1164267"/>
              <a:gd name="connsiteX2" fmla="*/ 1205626 w 1761756"/>
              <a:gd name="connsiteY2" fmla="*/ 22439 h 1164267"/>
              <a:gd name="connsiteX3" fmla="*/ 1761756 w 1761756"/>
              <a:gd name="connsiteY3" fmla="*/ 1164267 h 1164267"/>
              <a:gd name="connsiteX4" fmla="*/ 0 w 1761756"/>
              <a:gd name="connsiteY4" fmla="*/ 1102559 h 1164267"/>
              <a:gd name="connsiteX0" fmla="*/ 0 w 1761756"/>
              <a:gd name="connsiteY0" fmla="*/ 1124999 h 1186707"/>
              <a:gd name="connsiteX1" fmla="*/ 758 w 1761756"/>
              <a:gd name="connsiteY1" fmla="*/ 22440 h 1186707"/>
              <a:gd name="connsiteX2" fmla="*/ 1379531 w 1761756"/>
              <a:gd name="connsiteY2" fmla="*/ 0 h 1186707"/>
              <a:gd name="connsiteX3" fmla="*/ 1761756 w 1761756"/>
              <a:gd name="connsiteY3" fmla="*/ 1186707 h 1186707"/>
              <a:gd name="connsiteX4" fmla="*/ 0 w 1761756"/>
              <a:gd name="connsiteY4" fmla="*/ 1124999 h 1186707"/>
              <a:gd name="connsiteX0" fmla="*/ 0 w 1767366"/>
              <a:gd name="connsiteY0" fmla="*/ 1338172 h 1338172"/>
              <a:gd name="connsiteX1" fmla="*/ 6368 w 1767366"/>
              <a:gd name="connsiteY1" fmla="*/ 22440 h 1338172"/>
              <a:gd name="connsiteX2" fmla="*/ 1385141 w 1767366"/>
              <a:gd name="connsiteY2" fmla="*/ 0 h 1338172"/>
              <a:gd name="connsiteX3" fmla="*/ 1767366 w 1767366"/>
              <a:gd name="connsiteY3" fmla="*/ 1186707 h 1338172"/>
              <a:gd name="connsiteX4" fmla="*/ 0 w 1767366"/>
              <a:gd name="connsiteY4" fmla="*/ 1338172 h 1338172"/>
              <a:gd name="connsiteX0" fmla="*/ 0 w 1801025"/>
              <a:gd name="connsiteY0" fmla="*/ 1338172 h 1338172"/>
              <a:gd name="connsiteX1" fmla="*/ 6368 w 1801025"/>
              <a:gd name="connsiteY1" fmla="*/ 22440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69743 w 1801025"/>
              <a:gd name="connsiteY1" fmla="*/ 117502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38056 w 1801025"/>
              <a:gd name="connsiteY1" fmla="*/ 198984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234057 h 1234057"/>
              <a:gd name="connsiteX1" fmla="*/ 38056 w 1801025"/>
              <a:gd name="connsiteY1" fmla="*/ 94869 h 1234057"/>
              <a:gd name="connsiteX2" fmla="*/ 1434935 w 1801025"/>
              <a:gd name="connsiteY2" fmla="*/ 0 h 1234057"/>
              <a:gd name="connsiteX3" fmla="*/ 1801025 w 1801025"/>
              <a:gd name="connsiteY3" fmla="*/ 1234057 h 1234057"/>
              <a:gd name="connsiteX4" fmla="*/ 0 w 1801025"/>
              <a:gd name="connsiteY4" fmla="*/ 1234057 h 1234057"/>
              <a:gd name="connsiteX0" fmla="*/ 0 w 1801025"/>
              <a:gd name="connsiteY0" fmla="*/ 1247634 h 1247634"/>
              <a:gd name="connsiteX1" fmla="*/ 38056 w 1801025"/>
              <a:gd name="connsiteY1" fmla="*/ 108446 h 1247634"/>
              <a:gd name="connsiteX2" fmla="*/ 4527 w 1801025"/>
              <a:gd name="connsiteY2" fmla="*/ 0 h 1247634"/>
              <a:gd name="connsiteX3" fmla="*/ 1434935 w 1801025"/>
              <a:gd name="connsiteY3" fmla="*/ 13577 h 1247634"/>
              <a:gd name="connsiteX4" fmla="*/ 1801025 w 1801025"/>
              <a:gd name="connsiteY4" fmla="*/ 1247634 h 1247634"/>
              <a:gd name="connsiteX5" fmla="*/ 0 w 1801025"/>
              <a:gd name="connsiteY5"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131473 w 1932498"/>
              <a:gd name="connsiteY0" fmla="*/ 1247634 h 1247634"/>
              <a:gd name="connsiteX1" fmla="*/ 136000 w 1932498"/>
              <a:gd name="connsiteY1" fmla="*/ 0 h 1247634"/>
              <a:gd name="connsiteX2" fmla="*/ 1566408 w 1932498"/>
              <a:gd name="connsiteY2" fmla="*/ 13577 h 1247634"/>
              <a:gd name="connsiteX3" fmla="*/ 1932498 w 1932498"/>
              <a:gd name="connsiteY3" fmla="*/ 1247634 h 1247634"/>
              <a:gd name="connsiteX4" fmla="*/ 131473 w 1932498"/>
              <a:gd name="connsiteY4" fmla="*/ 1247634 h 1247634"/>
              <a:gd name="connsiteX0" fmla="*/ 0 w 1801025"/>
              <a:gd name="connsiteY0" fmla="*/ 1247634 h 1247634"/>
              <a:gd name="connsiteX1" fmla="*/ 4527 w 1801025"/>
              <a:gd name="connsiteY1" fmla="*/ 0 h 1247634"/>
              <a:gd name="connsiteX2" fmla="*/ 1434935 w 1801025"/>
              <a:gd name="connsiteY2" fmla="*/ 13577 h 1247634"/>
              <a:gd name="connsiteX3" fmla="*/ 1801025 w 1801025"/>
              <a:gd name="connsiteY3" fmla="*/ 1247634 h 1247634"/>
              <a:gd name="connsiteX4" fmla="*/ 0 w 1801025"/>
              <a:gd name="connsiteY4" fmla="*/ 1247634 h 1247634"/>
              <a:gd name="connsiteX0" fmla="*/ 0 w 1801025"/>
              <a:gd name="connsiteY0" fmla="*/ 1249130 h 1249130"/>
              <a:gd name="connsiteX1" fmla="*/ 4527 w 1801025"/>
              <a:gd name="connsiteY1" fmla="*/ 1496 h 1249130"/>
              <a:gd name="connsiteX2" fmla="*/ 1424887 w 1801025"/>
              <a:gd name="connsiteY2" fmla="*/ 0 h 1249130"/>
              <a:gd name="connsiteX3" fmla="*/ 1801025 w 1801025"/>
              <a:gd name="connsiteY3" fmla="*/ 1249130 h 1249130"/>
              <a:gd name="connsiteX4" fmla="*/ 0 w 1801025"/>
              <a:gd name="connsiteY4" fmla="*/ 1249130 h 1249130"/>
              <a:gd name="connsiteX0" fmla="*/ 0 w 1836194"/>
              <a:gd name="connsiteY0" fmla="*/ 1249130 h 1249130"/>
              <a:gd name="connsiteX1" fmla="*/ 4527 w 1836194"/>
              <a:gd name="connsiteY1" fmla="*/ 1496 h 1249130"/>
              <a:gd name="connsiteX2" fmla="*/ 1424887 w 1836194"/>
              <a:gd name="connsiteY2" fmla="*/ 0 h 1249130"/>
              <a:gd name="connsiteX3" fmla="*/ 1836194 w 1836194"/>
              <a:gd name="connsiteY3" fmla="*/ 1249130 h 1249130"/>
              <a:gd name="connsiteX4" fmla="*/ 0 w 1836194"/>
              <a:gd name="connsiteY4" fmla="*/ 1249130 h 1249130"/>
              <a:gd name="connsiteX0" fmla="*/ 0 w 1836194"/>
              <a:gd name="connsiteY0" fmla="*/ 1249130 h 1249130"/>
              <a:gd name="connsiteX1" fmla="*/ 4527 w 1836194"/>
              <a:gd name="connsiteY1" fmla="*/ 1496 h 1249130"/>
              <a:gd name="connsiteX2" fmla="*/ 1439960 w 1836194"/>
              <a:gd name="connsiteY2" fmla="*/ 0 h 1249130"/>
              <a:gd name="connsiteX3" fmla="*/ 1836194 w 1836194"/>
              <a:gd name="connsiteY3" fmla="*/ 1249130 h 1249130"/>
              <a:gd name="connsiteX4" fmla="*/ 0 w 1836194"/>
              <a:gd name="connsiteY4" fmla="*/ 1249130 h 1249130"/>
              <a:gd name="connsiteX0" fmla="*/ 0 w 2002449"/>
              <a:gd name="connsiteY0" fmla="*/ 1249130 h 1795395"/>
              <a:gd name="connsiteX1" fmla="*/ 4527 w 2002449"/>
              <a:gd name="connsiteY1" fmla="*/ 1496 h 1795395"/>
              <a:gd name="connsiteX2" fmla="*/ 1439960 w 2002449"/>
              <a:gd name="connsiteY2" fmla="*/ 0 h 1795395"/>
              <a:gd name="connsiteX3" fmla="*/ 2002449 w 2002449"/>
              <a:gd name="connsiteY3" fmla="*/ 1795395 h 1795395"/>
              <a:gd name="connsiteX4" fmla="*/ 0 w 2002449"/>
              <a:gd name="connsiteY4" fmla="*/ 1249130 h 1795395"/>
              <a:gd name="connsiteX0" fmla="*/ 0 w 2002449"/>
              <a:gd name="connsiteY0" fmla="*/ 1801333 h 1801333"/>
              <a:gd name="connsiteX1" fmla="*/ 4527 w 2002449"/>
              <a:gd name="connsiteY1" fmla="*/ 1496 h 1801333"/>
              <a:gd name="connsiteX2" fmla="*/ 1439960 w 2002449"/>
              <a:gd name="connsiteY2" fmla="*/ 0 h 1801333"/>
              <a:gd name="connsiteX3" fmla="*/ 2002449 w 2002449"/>
              <a:gd name="connsiteY3" fmla="*/ 1795395 h 1801333"/>
              <a:gd name="connsiteX4" fmla="*/ 0 w 2002449"/>
              <a:gd name="connsiteY4" fmla="*/ 1801333 h 180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449" h="1801333">
                <a:moveTo>
                  <a:pt x="0" y="1801333"/>
                </a:moveTo>
                <a:cubicBezTo>
                  <a:pt x="2035" y="1683829"/>
                  <a:pt x="6532" y="634227"/>
                  <a:pt x="4527" y="1496"/>
                </a:cubicBezTo>
                <a:lnTo>
                  <a:pt x="1439960" y="0"/>
                </a:lnTo>
                <a:lnTo>
                  <a:pt x="2002449" y="1795395"/>
                </a:lnTo>
                <a:lnTo>
                  <a:pt x="0" y="1801333"/>
                </a:lnTo>
                <a:close/>
              </a:path>
            </a:pathLst>
          </a:custGeom>
          <a:gradFill flip="none" rotWithShape="0">
            <a:gsLst>
              <a:gs pos="100000">
                <a:schemeClr val="bg1">
                  <a:alpha val="16000"/>
                </a:schemeClr>
              </a:gs>
              <a:gs pos="38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dirty="0"/>
              <a:t>Titelmasterformat durch Klicken bearbeiten</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30476823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horizontal">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a:xfrm>
            <a:off x="5752647" y="3306164"/>
            <a:ext cx="1689100" cy="1281810"/>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1" name="Bildplatzhalter 9"/>
          <p:cNvSpPr>
            <a:spLocks noGrp="1"/>
          </p:cNvSpPr>
          <p:nvPr>
            <p:ph type="pic" sz="quarter" idx="14"/>
          </p:nvPr>
        </p:nvSpPr>
        <p:spPr>
          <a:xfrm>
            <a:off x="3705705" y="3306164"/>
            <a:ext cx="1689100" cy="1281810"/>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2" name="Bildplatzhalter 9"/>
          <p:cNvSpPr>
            <a:spLocks noGrp="1"/>
          </p:cNvSpPr>
          <p:nvPr>
            <p:ph type="pic" sz="quarter" idx="15"/>
          </p:nvPr>
        </p:nvSpPr>
        <p:spPr>
          <a:xfrm>
            <a:off x="1658764" y="3306164"/>
            <a:ext cx="1689100" cy="1281810"/>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6"/>
          </p:nvPr>
        </p:nvSpPr>
        <p:spPr>
          <a:xfrm>
            <a:off x="1404000" y="1562401"/>
            <a:ext cx="7488000" cy="1513406"/>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1939872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tandard_1 Text Container_5 Pictures horizontal">
    <p:spTree>
      <p:nvGrpSpPr>
        <p:cNvPr id="1" name=""/>
        <p:cNvGrpSpPr/>
        <p:nvPr/>
      </p:nvGrpSpPr>
      <p:grpSpPr>
        <a:xfrm>
          <a:off x="0" y="0"/>
          <a:ext cx="0" cy="0"/>
          <a:chOff x="0" y="0"/>
          <a:chExt cx="0" cy="0"/>
        </a:xfrm>
      </p:grpSpPr>
      <p:sp>
        <p:nvSpPr>
          <p:cNvPr id="11" name="Bildplatzhalter 9"/>
          <p:cNvSpPr>
            <a:spLocks noGrp="1"/>
          </p:cNvSpPr>
          <p:nvPr>
            <p:ph type="pic" sz="quarter" idx="14"/>
          </p:nvPr>
        </p:nvSpPr>
        <p:spPr>
          <a:xfrm>
            <a:off x="3844374"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5" name="Bildplatzhalter 9"/>
          <p:cNvSpPr>
            <a:spLocks noGrp="1"/>
          </p:cNvSpPr>
          <p:nvPr>
            <p:ph type="pic" sz="quarter" idx="15"/>
          </p:nvPr>
        </p:nvSpPr>
        <p:spPr>
          <a:xfrm>
            <a:off x="5604636"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6" name="Bildplatzhalter 9"/>
          <p:cNvSpPr>
            <a:spLocks noGrp="1"/>
          </p:cNvSpPr>
          <p:nvPr>
            <p:ph type="pic" sz="quarter" idx="16"/>
          </p:nvPr>
        </p:nvSpPr>
        <p:spPr>
          <a:xfrm>
            <a:off x="7364897"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7" name="Bildplatzhalter 9"/>
          <p:cNvSpPr>
            <a:spLocks noGrp="1"/>
          </p:cNvSpPr>
          <p:nvPr>
            <p:ph type="pic" sz="quarter" idx="17"/>
          </p:nvPr>
        </p:nvSpPr>
        <p:spPr>
          <a:xfrm>
            <a:off x="323850"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8" name="Bildplatzhalter 9"/>
          <p:cNvSpPr>
            <a:spLocks noGrp="1"/>
          </p:cNvSpPr>
          <p:nvPr>
            <p:ph type="pic" sz="quarter" idx="18"/>
          </p:nvPr>
        </p:nvSpPr>
        <p:spPr>
          <a:xfrm>
            <a:off x="2084112"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7" name="Textplatzhalter 6"/>
          <p:cNvSpPr>
            <a:spLocks noGrp="1"/>
          </p:cNvSpPr>
          <p:nvPr>
            <p:ph type="body" sz="quarter" idx="19"/>
          </p:nvPr>
        </p:nvSpPr>
        <p:spPr>
          <a:xfrm>
            <a:off x="1403999" y="1562400"/>
            <a:ext cx="7488000" cy="151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483971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_3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A68CC98-BB1E-4B44-A894-37BDC1D6BF36}"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357" y="1563688"/>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50" y="3831775"/>
            <a:ext cx="6047282"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7595094"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1403357" y="2697731"/>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7595094"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7595094"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95014594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abellenplatzhalter 6"/>
          <p:cNvSpPr>
            <a:spLocks noGrp="1"/>
          </p:cNvSpPr>
          <p:nvPr>
            <p:ph type="tbl" sz="quarter" idx="13"/>
          </p:nvPr>
        </p:nvSpPr>
        <p:spPr>
          <a:xfrm>
            <a:off x="1403350" y="1563688"/>
            <a:ext cx="7489825" cy="3240087"/>
          </a:xfrm>
        </p:spPr>
        <p:txBody>
          <a:bodyPr anchor="ctr"/>
          <a:lstStyle>
            <a:lvl1pPr algn="ctr">
              <a:defRPr/>
            </a:lvl1pPr>
          </a:lstStyle>
          <a:p>
            <a:endParaRPr lang="en-US" dirty="0"/>
          </a:p>
        </p:txBody>
      </p:sp>
    </p:spTree>
    <p:extLst>
      <p:ext uri="{BB962C8B-B14F-4D97-AF65-F5344CB8AC3E}">
        <p14:creationId xmlns:p14="http://schemas.microsoft.com/office/powerpoint/2010/main" val="207235307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ackground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18588690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ackground_Benefit_without net">
    <p:spTree>
      <p:nvGrpSpPr>
        <p:cNvPr id="1" name=""/>
        <p:cNvGrpSpPr/>
        <p:nvPr/>
      </p:nvGrpSpPr>
      <p:grpSpPr>
        <a:xfrm>
          <a:off x="0" y="0"/>
          <a:ext cx="0" cy="0"/>
          <a:chOff x="0" y="0"/>
          <a:chExt cx="0" cy="0"/>
        </a:xfrm>
      </p:grpSpPr>
      <p:sp>
        <p:nvSpPr>
          <p:cNvPr id="8" name="Rechteck 7"/>
          <p:cNvSpPr/>
          <p:nvPr userDrawn="1"/>
        </p:nvSpPr>
        <p:spPr bwMode="auto">
          <a:xfrm>
            <a:off x="0" y="0"/>
            <a:ext cx="9144000" cy="5143500"/>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olidFill>
                <a:prstClr val="white"/>
              </a:solidFill>
            </a:endParaRPr>
          </a:p>
        </p:txBody>
      </p:sp>
      <p:pic>
        <p:nvPicPr>
          <p:cNvPr id="9" name="Picture 3" descr="T:\ASM\16-2458-ASM PPT Company\Masterhintergründe\Master16.pn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1"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userDrawn="1">
            <p:ph type="title"/>
          </p:nvPr>
        </p:nvSpPr>
        <p:spPr/>
        <p:txBody>
          <a:bodyPr/>
          <a:lstStyle/>
          <a:p>
            <a:r>
              <a:rPr lang="de-DE" dirty="0"/>
              <a:t>Titelmasterformat durch Klicken bearbeiten</a:t>
            </a:r>
            <a:endParaRPr lang="en-US" dirty="0"/>
          </a:p>
        </p:txBody>
      </p:sp>
      <p:sp>
        <p:nvSpPr>
          <p:cNvPr id="3" name="Datumsplatzhalter 2"/>
          <p:cNvSpPr>
            <a:spLocks noGrp="1"/>
          </p:cNvSpPr>
          <p:nvPr userDrawn="1">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userDrawn="1">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userDrawn="1">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userDrawn="1">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12"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Tree>
    <p:extLst>
      <p:ext uri="{BB962C8B-B14F-4D97-AF65-F5344CB8AC3E}">
        <p14:creationId xmlns:p14="http://schemas.microsoft.com/office/powerpoint/2010/main" val="18009928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aser_1 Text Container_Benefits">
    <p:spTree>
      <p:nvGrpSpPr>
        <p:cNvPr id="1" name=""/>
        <p:cNvGrpSpPr/>
        <p:nvPr/>
      </p:nvGrpSpPr>
      <p:grpSpPr>
        <a:xfrm>
          <a:off x="0" y="0"/>
          <a:ext cx="0" cy="0"/>
          <a:chOff x="0" y="0"/>
          <a:chExt cx="0" cy="0"/>
        </a:xfrm>
      </p:grpSpPr>
      <p:sp>
        <p:nvSpPr>
          <p:cNvPr id="6" name="Rechteck 5"/>
          <p:cNvSpPr/>
          <p:nvPr userDrawn="1"/>
        </p:nvSpPr>
        <p:spPr>
          <a:xfrm>
            <a:off x="0" y="216900"/>
            <a:ext cx="9144000" cy="170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hteck 6"/>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256FFC-87C3-434C-B174-C251D483D1A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3" name="Textplatzhalter 12"/>
          <p:cNvSpPr>
            <a:spLocks noGrp="1"/>
          </p:cNvSpPr>
          <p:nvPr>
            <p:ph type="body" sz="quarter" idx="13"/>
          </p:nvPr>
        </p:nvSpPr>
        <p:spPr>
          <a:xfrm>
            <a:off x="1403349" y="1563687"/>
            <a:ext cx="7489825" cy="324008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7" name="Gruppieren 16"/>
          <p:cNvGrpSpPr/>
          <p:nvPr userDrawn="1"/>
        </p:nvGrpSpPr>
        <p:grpSpPr>
          <a:xfrm>
            <a:off x="0" y="0"/>
            <a:ext cx="9144000" cy="5143500"/>
            <a:chOff x="0" y="0"/>
            <a:chExt cx="9144000" cy="5143500"/>
          </a:xfrm>
        </p:grpSpPr>
        <p:grpSp>
          <p:nvGrpSpPr>
            <p:cNvPr id="18" name="Gruppieren 17"/>
            <p:cNvGrpSpPr/>
            <p:nvPr userDrawn="1"/>
          </p:nvGrpSpPr>
          <p:grpSpPr>
            <a:xfrm>
              <a:off x="0" y="0"/>
              <a:ext cx="9144000" cy="5143500"/>
              <a:chOff x="0" y="0"/>
              <a:chExt cx="9144000" cy="5143500"/>
            </a:xfrm>
          </p:grpSpPr>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3" name="Rechteck 22"/>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olidFill>
                    <a:prstClr val="white"/>
                  </a:solidFill>
                </a:endParaRPr>
              </a:p>
            </p:txBody>
          </p:sp>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grpSp>
    </p:spTree>
    <p:extLst>
      <p:ext uri="{BB962C8B-B14F-4D97-AF65-F5344CB8AC3E}">
        <p14:creationId xmlns:p14="http://schemas.microsoft.com/office/powerpoint/2010/main" val="170652320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aser_Triangle  Picture_1 Text Container_Benefit_Red">
    <p:spTree>
      <p:nvGrpSpPr>
        <p:cNvPr id="1" name=""/>
        <p:cNvGrpSpPr/>
        <p:nvPr/>
      </p:nvGrpSpPr>
      <p:grpSpPr>
        <a:xfrm>
          <a:off x="0" y="0"/>
          <a:ext cx="0" cy="0"/>
          <a:chOff x="0" y="0"/>
          <a:chExt cx="0" cy="0"/>
        </a:xfrm>
      </p:grpSpPr>
      <p:sp>
        <p:nvSpPr>
          <p:cNvPr id="16" name="Rechteck 15"/>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Bildplatzhalter 7"/>
          <p:cNvSpPr>
            <a:spLocks noGrp="1"/>
          </p:cNvSpPr>
          <p:nvPr>
            <p:ph type="pic" sz="quarter" idx="14"/>
          </p:nvPr>
        </p:nvSpPr>
        <p:spPr>
          <a:xfrm>
            <a:off x="-3711" y="432000"/>
            <a:ext cx="2341174" cy="4712400"/>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174" h="4716161">
                <a:moveTo>
                  <a:pt x="1177" y="4716161"/>
                </a:moveTo>
                <a:cubicBezTo>
                  <a:pt x="-3734" y="3141290"/>
                  <a:pt x="8622" y="1574871"/>
                  <a:pt x="3711" y="0"/>
                </a:cubicBezTo>
                <a:lnTo>
                  <a:pt x="1437356" y="131"/>
                </a:lnTo>
                <a:lnTo>
                  <a:pt x="2341174" y="2824274"/>
                </a:lnTo>
                <a:lnTo>
                  <a:pt x="1396541" y="4713067"/>
                </a:lnTo>
                <a:lnTo>
                  <a:pt x="1177" y="4716161"/>
                </a:lnTo>
                <a:close/>
              </a:path>
            </a:pathLst>
          </a:custGeom>
        </p:spPr>
        <p:txBody>
          <a:bodyPr anchor="ctr"/>
          <a:lstStyle>
            <a:lvl1pPr algn="ctr">
              <a:defRPr/>
            </a:lvl1pPr>
          </a:lstStyle>
          <a:p>
            <a:endParaRPr lang="en-US"/>
          </a:p>
        </p:txBody>
      </p:sp>
      <p:sp>
        <p:nvSpPr>
          <p:cNvPr id="3" name="Datumsplatzhalter 2"/>
          <p:cNvSpPr>
            <a:spLocks noGrp="1"/>
          </p:cNvSpPr>
          <p:nvPr>
            <p:ph type="dt" sz="half" idx="10"/>
          </p:nvPr>
        </p:nvSpPr>
        <p:spPr/>
        <p:txBody>
          <a:bodyPr/>
          <a:lstStyle/>
          <a:p>
            <a:fld id="{2099C74F-881F-48BA-9300-FD43FD81899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04000" y="2066400"/>
            <a:ext cx="5688000" cy="2736000"/>
          </a:xfrm>
        </p:spPr>
        <p:txBody>
          <a:bodyPr>
            <a:normAutofit/>
          </a:bodyPr>
          <a:lstStyle>
            <a:lvl1pPr>
              <a:defRPr sz="1600">
                <a:solidFill>
                  <a:schemeClr val="bg1"/>
                </a:solidFill>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rapezoid 8"/>
          <p:cNvSpPr/>
          <p:nvPr userDrawn="1"/>
        </p:nvSpPr>
        <p:spPr>
          <a:xfrm>
            <a:off x="-4136" y="431999"/>
            <a:ext cx="2010432" cy="1801333"/>
          </a:xfrm>
          <a:custGeom>
            <a:avLst/>
            <a:gdLst>
              <a:gd name="connsiteX0" fmla="*/ 0 w 1475656"/>
              <a:gd name="connsiteY0" fmla="*/ 1080120 h 1080120"/>
              <a:gd name="connsiteX1" fmla="*/ 270030 w 1475656"/>
              <a:gd name="connsiteY1" fmla="*/ 0 h 1080120"/>
              <a:gd name="connsiteX2" fmla="*/ 1205626 w 1475656"/>
              <a:gd name="connsiteY2" fmla="*/ 0 h 1080120"/>
              <a:gd name="connsiteX3" fmla="*/ 1475656 w 1475656"/>
              <a:gd name="connsiteY3" fmla="*/ 1080120 h 1080120"/>
              <a:gd name="connsiteX4" fmla="*/ 0 w 1475656"/>
              <a:gd name="connsiteY4" fmla="*/ 1080120 h 1080120"/>
              <a:gd name="connsiteX0" fmla="*/ 0 w 1475656"/>
              <a:gd name="connsiteY0" fmla="*/ 1102559 h 1102559"/>
              <a:gd name="connsiteX1" fmla="*/ 758 w 1475656"/>
              <a:gd name="connsiteY1" fmla="*/ 0 h 1102559"/>
              <a:gd name="connsiteX2" fmla="*/ 1205626 w 1475656"/>
              <a:gd name="connsiteY2" fmla="*/ 22439 h 1102559"/>
              <a:gd name="connsiteX3" fmla="*/ 1475656 w 1475656"/>
              <a:gd name="connsiteY3" fmla="*/ 1102559 h 1102559"/>
              <a:gd name="connsiteX4" fmla="*/ 0 w 1475656"/>
              <a:gd name="connsiteY4" fmla="*/ 1102559 h 1102559"/>
              <a:gd name="connsiteX0" fmla="*/ 0 w 1761756"/>
              <a:gd name="connsiteY0" fmla="*/ 1102559 h 1164267"/>
              <a:gd name="connsiteX1" fmla="*/ 758 w 1761756"/>
              <a:gd name="connsiteY1" fmla="*/ 0 h 1164267"/>
              <a:gd name="connsiteX2" fmla="*/ 1205626 w 1761756"/>
              <a:gd name="connsiteY2" fmla="*/ 22439 h 1164267"/>
              <a:gd name="connsiteX3" fmla="*/ 1761756 w 1761756"/>
              <a:gd name="connsiteY3" fmla="*/ 1164267 h 1164267"/>
              <a:gd name="connsiteX4" fmla="*/ 0 w 1761756"/>
              <a:gd name="connsiteY4" fmla="*/ 1102559 h 1164267"/>
              <a:gd name="connsiteX0" fmla="*/ 0 w 1761756"/>
              <a:gd name="connsiteY0" fmla="*/ 1124999 h 1186707"/>
              <a:gd name="connsiteX1" fmla="*/ 758 w 1761756"/>
              <a:gd name="connsiteY1" fmla="*/ 22440 h 1186707"/>
              <a:gd name="connsiteX2" fmla="*/ 1379531 w 1761756"/>
              <a:gd name="connsiteY2" fmla="*/ 0 h 1186707"/>
              <a:gd name="connsiteX3" fmla="*/ 1761756 w 1761756"/>
              <a:gd name="connsiteY3" fmla="*/ 1186707 h 1186707"/>
              <a:gd name="connsiteX4" fmla="*/ 0 w 1761756"/>
              <a:gd name="connsiteY4" fmla="*/ 1124999 h 1186707"/>
              <a:gd name="connsiteX0" fmla="*/ 0 w 1767366"/>
              <a:gd name="connsiteY0" fmla="*/ 1338172 h 1338172"/>
              <a:gd name="connsiteX1" fmla="*/ 6368 w 1767366"/>
              <a:gd name="connsiteY1" fmla="*/ 22440 h 1338172"/>
              <a:gd name="connsiteX2" fmla="*/ 1385141 w 1767366"/>
              <a:gd name="connsiteY2" fmla="*/ 0 h 1338172"/>
              <a:gd name="connsiteX3" fmla="*/ 1767366 w 1767366"/>
              <a:gd name="connsiteY3" fmla="*/ 1186707 h 1338172"/>
              <a:gd name="connsiteX4" fmla="*/ 0 w 1767366"/>
              <a:gd name="connsiteY4" fmla="*/ 1338172 h 1338172"/>
              <a:gd name="connsiteX0" fmla="*/ 0 w 1801025"/>
              <a:gd name="connsiteY0" fmla="*/ 1338172 h 1338172"/>
              <a:gd name="connsiteX1" fmla="*/ 6368 w 1801025"/>
              <a:gd name="connsiteY1" fmla="*/ 22440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69743 w 1801025"/>
              <a:gd name="connsiteY1" fmla="*/ 117502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38056 w 1801025"/>
              <a:gd name="connsiteY1" fmla="*/ 198984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234057 h 1234057"/>
              <a:gd name="connsiteX1" fmla="*/ 38056 w 1801025"/>
              <a:gd name="connsiteY1" fmla="*/ 94869 h 1234057"/>
              <a:gd name="connsiteX2" fmla="*/ 1434935 w 1801025"/>
              <a:gd name="connsiteY2" fmla="*/ 0 h 1234057"/>
              <a:gd name="connsiteX3" fmla="*/ 1801025 w 1801025"/>
              <a:gd name="connsiteY3" fmla="*/ 1234057 h 1234057"/>
              <a:gd name="connsiteX4" fmla="*/ 0 w 1801025"/>
              <a:gd name="connsiteY4" fmla="*/ 1234057 h 1234057"/>
              <a:gd name="connsiteX0" fmla="*/ 0 w 1801025"/>
              <a:gd name="connsiteY0" fmla="*/ 1247634 h 1247634"/>
              <a:gd name="connsiteX1" fmla="*/ 38056 w 1801025"/>
              <a:gd name="connsiteY1" fmla="*/ 108446 h 1247634"/>
              <a:gd name="connsiteX2" fmla="*/ 4527 w 1801025"/>
              <a:gd name="connsiteY2" fmla="*/ 0 h 1247634"/>
              <a:gd name="connsiteX3" fmla="*/ 1434935 w 1801025"/>
              <a:gd name="connsiteY3" fmla="*/ 13577 h 1247634"/>
              <a:gd name="connsiteX4" fmla="*/ 1801025 w 1801025"/>
              <a:gd name="connsiteY4" fmla="*/ 1247634 h 1247634"/>
              <a:gd name="connsiteX5" fmla="*/ 0 w 1801025"/>
              <a:gd name="connsiteY5"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131473 w 1932498"/>
              <a:gd name="connsiteY0" fmla="*/ 1247634 h 1247634"/>
              <a:gd name="connsiteX1" fmla="*/ 136000 w 1932498"/>
              <a:gd name="connsiteY1" fmla="*/ 0 h 1247634"/>
              <a:gd name="connsiteX2" fmla="*/ 1566408 w 1932498"/>
              <a:gd name="connsiteY2" fmla="*/ 13577 h 1247634"/>
              <a:gd name="connsiteX3" fmla="*/ 1932498 w 1932498"/>
              <a:gd name="connsiteY3" fmla="*/ 1247634 h 1247634"/>
              <a:gd name="connsiteX4" fmla="*/ 131473 w 1932498"/>
              <a:gd name="connsiteY4" fmla="*/ 1247634 h 1247634"/>
              <a:gd name="connsiteX0" fmla="*/ 0 w 1801025"/>
              <a:gd name="connsiteY0" fmla="*/ 1247634 h 1247634"/>
              <a:gd name="connsiteX1" fmla="*/ 4527 w 1801025"/>
              <a:gd name="connsiteY1" fmla="*/ 0 h 1247634"/>
              <a:gd name="connsiteX2" fmla="*/ 1434935 w 1801025"/>
              <a:gd name="connsiteY2" fmla="*/ 13577 h 1247634"/>
              <a:gd name="connsiteX3" fmla="*/ 1801025 w 1801025"/>
              <a:gd name="connsiteY3" fmla="*/ 1247634 h 1247634"/>
              <a:gd name="connsiteX4" fmla="*/ 0 w 1801025"/>
              <a:gd name="connsiteY4" fmla="*/ 1247634 h 1247634"/>
              <a:gd name="connsiteX0" fmla="*/ 0 w 1801025"/>
              <a:gd name="connsiteY0" fmla="*/ 1249130 h 1249130"/>
              <a:gd name="connsiteX1" fmla="*/ 4527 w 1801025"/>
              <a:gd name="connsiteY1" fmla="*/ 1496 h 1249130"/>
              <a:gd name="connsiteX2" fmla="*/ 1424887 w 1801025"/>
              <a:gd name="connsiteY2" fmla="*/ 0 h 1249130"/>
              <a:gd name="connsiteX3" fmla="*/ 1801025 w 1801025"/>
              <a:gd name="connsiteY3" fmla="*/ 1249130 h 1249130"/>
              <a:gd name="connsiteX4" fmla="*/ 0 w 1801025"/>
              <a:gd name="connsiteY4" fmla="*/ 1249130 h 1249130"/>
              <a:gd name="connsiteX0" fmla="*/ 0 w 1836194"/>
              <a:gd name="connsiteY0" fmla="*/ 1249130 h 1249130"/>
              <a:gd name="connsiteX1" fmla="*/ 4527 w 1836194"/>
              <a:gd name="connsiteY1" fmla="*/ 1496 h 1249130"/>
              <a:gd name="connsiteX2" fmla="*/ 1424887 w 1836194"/>
              <a:gd name="connsiteY2" fmla="*/ 0 h 1249130"/>
              <a:gd name="connsiteX3" fmla="*/ 1836194 w 1836194"/>
              <a:gd name="connsiteY3" fmla="*/ 1249130 h 1249130"/>
              <a:gd name="connsiteX4" fmla="*/ 0 w 1836194"/>
              <a:gd name="connsiteY4" fmla="*/ 1249130 h 1249130"/>
              <a:gd name="connsiteX0" fmla="*/ 0 w 1836194"/>
              <a:gd name="connsiteY0" fmla="*/ 1249130 h 1249130"/>
              <a:gd name="connsiteX1" fmla="*/ 4527 w 1836194"/>
              <a:gd name="connsiteY1" fmla="*/ 1496 h 1249130"/>
              <a:gd name="connsiteX2" fmla="*/ 1439960 w 1836194"/>
              <a:gd name="connsiteY2" fmla="*/ 0 h 1249130"/>
              <a:gd name="connsiteX3" fmla="*/ 1836194 w 1836194"/>
              <a:gd name="connsiteY3" fmla="*/ 1249130 h 1249130"/>
              <a:gd name="connsiteX4" fmla="*/ 0 w 1836194"/>
              <a:gd name="connsiteY4" fmla="*/ 1249130 h 1249130"/>
              <a:gd name="connsiteX0" fmla="*/ 0 w 2002449"/>
              <a:gd name="connsiteY0" fmla="*/ 1249130 h 1795395"/>
              <a:gd name="connsiteX1" fmla="*/ 4527 w 2002449"/>
              <a:gd name="connsiteY1" fmla="*/ 1496 h 1795395"/>
              <a:gd name="connsiteX2" fmla="*/ 1439960 w 2002449"/>
              <a:gd name="connsiteY2" fmla="*/ 0 h 1795395"/>
              <a:gd name="connsiteX3" fmla="*/ 2002449 w 2002449"/>
              <a:gd name="connsiteY3" fmla="*/ 1795395 h 1795395"/>
              <a:gd name="connsiteX4" fmla="*/ 0 w 2002449"/>
              <a:gd name="connsiteY4" fmla="*/ 1249130 h 1795395"/>
              <a:gd name="connsiteX0" fmla="*/ 0 w 2002449"/>
              <a:gd name="connsiteY0" fmla="*/ 1801333 h 1801333"/>
              <a:gd name="connsiteX1" fmla="*/ 4527 w 2002449"/>
              <a:gd name="connsiteY1" fmla="*/ 1496 h 1801333"/>
              <a:gd name="connsiteX2" fmla="*/ 1439960 w 2002449"/>
              <a:gd name="connsiteY2" fmla="*/ 0 h 1801333"/>
              <a:gd name="connsiteX3" fmla="*/ 2002449 w 2002449"/>
              <a:gd name="connsiteY3" fmla="*/ 1795395 h 1801333"/>
              <a:gd name="connsiteX4" fmla="*/ 0 w 2002449"/>
              <a:gd name="connsiteY4" fmla="*/ 1801333 h 1801333"/>
              <a:gd name="connsiteX0" fmla="*/ 3748 w 2006197"/>
              <a:gd name="connsiteY0" fmla="*/ 1801333 h 1801333"/>
              <a:gd name="connsiteX1" fmla="*/ 0 w 2006197"/>
              <a:gd name="connsiteY1" fmla="*/ 1496 h 1801333"/>
              <a:gd name="connsiteX2" fmla="*/ 1443708 w 2006197"/>
              <a:gd name="connsiteY2" fmla="*/ 0 h 1801333"/>
              <a:gd name="connsiteX3" fmla="*/ 2006197 w 2006197"/>
              <a:gd name="connsiteY3" fmla="*/ 1795395 h 1801333"/>
              <a:gd name="connsiteX4" fmla="*/ 3748 w 2006197"/>
              <a:gd name="connsiteY4" fmla="*/ 1801333 h 1801333"/>
              <a:gd name="connsiteX0" fmla="*/ 0 w 2006587"/>
              <a:gd name="connsiteY0" fmla="*/ 1801333 h 1801333"/>
              <a:gd name="connsiteX1" fmla="*/ 390 w 2006587"/>
              <a:gd name="connsiteY1" fmla="*/ 1496 h 1801333"/>
              <a:gd name="connsiteX2" fmla="*/ 1444098 w 2006587"/>
              <a:gd name="connsiteY2" fmla="*/ 0 h 1801333"/>
              <a:gd name="connsiteX3" fmla="*/ 2006587 w 2006587"/>
              <a:gd name="connsiteY3" fmla="*/ 1795395 h 1801333"/>
              <a:gd name="connsiteX4" fmla="*/ 0 w 2006587"/>
              <a:gd name="connsiteY4" fmla="*/ 1801333 h 1801333"/>
              <a:gd name="connsiteX0" fmla="*/ 0 w 2014862"/>
              <a:gd name="connsiteY0" fmla="*/ 1801333 h 1801333"/>
              <a:gd name="connsiteX1" fmla="*/ 390 w 2014862"/>
              <a:gd name="connsiteY1" fmla="*/ 1496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1333 h 1801333"/>
              <a:gd name="connsiteX1" fmla="*/ 91397 w 2014862"/>
              <a:gd name="connsiteY1" fmla="*/ 101170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8504 h 1808504"/>
              <a:gd name="connsiteX1" fmla="*/ 390 w 2014862"/>
              <a:gd name="connsiteY1" fmla="*/ 0 h 1808504"/>
              <a:gd name="connsiteX2" fmla="*/ 1444098 w 2014862"/>
              <a:gd name="connsiteY2" fmla="*/ 7171 h 1808504"/>
              <a:gd name="connsiteX3" fmla="*/ 2014862 w 2014862"/>
              <a:gd name="connsiteY3" fmla="*/ 1802566 h 1808504"/>
              <a:gd name="connsiteX4" fmla="*/ 0 w 2014862"/>
              <a:gd name="connsiteY4" fmla="*/ 1808504 h 1808504"/>
              <a:gd name="connsiteX0" fmla="*/ 8278 w 2023140"/>
              <a:gd name="connsiteY0" fmla="*/ 1804170 h 1804170"/>
              <a:gd name="connsiteX1" fmla="*/ 0 w 2023140"/>
              <a:gd name="connsiteY1" fmla="*/ 0 h 1804170"/>
              <a:gd name="connsiteX2" fmla="*/ 1452376 w 2023140"/>
              <a:gd name="connsiteY2" fmla="*/ 2837 h 1804170"/>
              <a:gd name="connsiteX3" fmla="*/ 2023140 w 2023140"/>
              <a:gd name="connsiteY3" fmla="*/ 1798232 h 1804170"/>
              <a:gd name="connsiteX4" fmla="*/ 8278 w 2023140"/>
              <a:gd name="connsiteY4" fmla="*/ 1804170 h 1804170"/>
              <a:gd name="connsiteX0" fmla="*/ 3944 w 2018806"/>
              <a:gd name="connsiteY0" fmla="*/ 1804170 h 1804170"/>
              <a:gd name="connsiteX1" fmla="*/ 0 w 2018806"/>
              <a:gd name="connsiteY1" fmla="*/ 0 h 1804170"/>
              <a:gd name="connsiteX2" fmla="*/ 1448042 w 2018806"/>
              <a:gd name="connsiteY2" fmla="*/ 2837 h 1804170"/>
              <a:gd name="connsiteX3" fmla="*/ 2018806 w 2018806"/>
              <a:gd name="connsiteY3" fmla="*/ 1798232 h 1804170"/>
              <a:gd name="connsiteX4" fmla="*/ 3944 w 2018806"/>
              <a:gd name="connsiteY4" fmla="*/ 1804170 h 1804170"/>
              <a:gd name="connsiteX0" fmla="*/ 0 w 2014862"/>
              <a:gd name="connsiteY0" fmla="*/ 1804170 h 1804170"/>
              <a:gd name="connsiteX1" fmla="*/ 9057 w 2014862"/>
              <a:gd name="connsiteY1" fmla="*/ 0 h 1804170"/>
              <a:gd name="connsiteX2" fmla="*/ 1444098 w 2014862"/>
              <a:gd name="connsiteY2" fmla="*/ 2837 h 1804170"/>
              <a:gd name="connsiteX3" fmla="*/ 2014862 w 2014862"/>
              <a:gd name="connsiteY3" fmla="*/ 1798232 h 1804170"/>
              <a:gd name="connsiteX4" fmla="*/ 0 w 2014862"/>
              <a:gd name="connsiteY4" fmla="*/ 1804170 h 1804170"/>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4723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1333 h 1801333"/>
              <a:gd name="connsiteX1" fmla="*/ 4723 w 2014862"/>
              <a:gd name="connsiteY1" fmla="*/ 5831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12837 h 1812837"/>
              <a:gd name="connsiteX1" fmla="*/ 389 w 2014862"/>
              <a:gd name="connsiteY1" fmla="*/ 0 h 1812837"/>
              <a:gd name="connsiteX2" fmla="*/ 1444098 w 2014862"/>
              <a:gd name="connsiteY2" fmla="*/ 11504 h 1812837"/>
              <a:gd name="connsiteX3" fmla="*/ 2014862 w 2014862"/>
              <a:gd name="connsiteY3" fmla="*/ 1806899 h 1812837"/>
              <a:gd name="connsiteX4" fmla="*/ 0 w 2014862"/>
              <a:gd name="connsiteY4" fmla="*/ 1812837 h 1812837"/>
              <a:gd name="connsiteX0" fmla="*/ 0 w 2014862"/>
              <a:gd name="connsiteY0" fmla="*/ 1801333 h 1801333"/>
              <a:gd name="connsiteX1" fmla="*/ 4722 w 2014862"/>
              <a:gd name="connsiteY1" fmla="*/ 1497 h 1801333"/>
              <a:gd name="connsiteX2" fmla="*/ 1444098 w 2014862"/>
              <a:gd name="connsiteY2" fmla="*/ 0 h 1801333"/>
              <a:gd name="connsiteX3" fmla="*/ 2014862 w 2014862"/>
              <a:gd name="connsiteY3" fmla="*/ 1795395 h 1801333"/>
              <a:gd name="connsiteX4" fmla="*/ 0 w 2014862"/>
              <a:gd name="connsiteY4" fmla="*/ 1801333 h 1801333"/>
              <a:gd name="connsiteX0" fmla="*/ 0 w 1949857"/>
              <a:gd name="connsiteY0" fmla="*/ 1801333 h 1801333"/>
              <a:gd name="connsiteX1" fmla="*/ 4722 w 1949857"/>
              <a:gd name="connsiteY1" fmla="*/ 1497 h 1801333"/>
              <a:gd name="connsiteX2" fmla="*/ 1444098 w 1949857"/>
              <a:gd name="connsiteY2" fmla="*/ 0 h 1801333"/>
              <a:gd name="connsiteX3" fmla="*/ 1949857 w 1949857"/>
              <a:gd name="connsiteY3" fmla="*/ 1795395 h 1801333"/>
              <a:gd name="connsiteX4" fmla="*/ 0 w 1949857"/>
              <a:gd name="connsiteY4" fmla="*/ 1801333 h 1801333"/>
              <a:gd name="connsiteX0" fmla="*/ 0 w 2010432"/>
              <a:gd name="connsiteY0" fmla="*/ 1801333 h 1801333"/>
              <a:gd name="connsiteX1" fmla="*/ 4722 w 2010432"/>
              <a:gd name="connsiteY1" fmla="*/ 1497 h 1801333"/>
              <a:gd name="connsiteX2" fmla="*/ 1444098 w 2010432"/>
              <a:gd name="connsiteY2" fmla="*/ 0 h 1801333"/>
              <a:gd name="connsiteX3" fmla="*/ 2010432 w 2010432"/>
              <a:gd name="connsiteY3" fmla="*/ 1792510 h 1801333"/>
              <a:gd name="connsiteX4" fmla="*/ 0 w 2010432"/>
              <a:gd name="connsiteY4" fmla="*/ 1801333 h 180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0432" h="1801333">
                <a:moveTo>
                  <a:pt x="0" y="1801333"/>
                </a:moveTo>
                <a:cubicBezTo>
                  <a:pt x="2035" y="1683829"/>
                  <a:pt x="6727" y="634228"/>
                  <a:pt x="4722" y="1497"/>
                </a:cubicBezTo>
                <a:lnTo>
                  <a:pt x="1444098" y="0"/>
                </a:lnTo>
                <a:lnTo>
                  <a:pt x="2010432" y="1792510"/>
                </a:lnTo>
                <a:lnTo>
                  <a:pt x="0" y="1801333"/>
                </a:lnTo>
                <a:close/>
              </a:path>
            </a:pathLst>
          </a:custGeom>
          <a:gradFill flip="none" rotWithShape="0">
            <a:gsLst>
              <a:gs pos="94000">
                <a:schemeClr val="bg1">
                  <a:alpha val="0"/>
                </a:schemeClr>
              </a:gs>
              <a:gs pos="42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dirty="0"/>
              <a:t>Titelmasterformat durch Klicken bearbeiten</a:t>
            </a:r>
            <a:endParaRPr lang="en-US" dirty="0"/>
          </a:p>
        </p:txBody>
      </p:sp>
      <p:grpSp>
        <p:nvGrpSpPr>
          <p:cNvPr id="13" name="Gruppieren 12"/>
          <p:cNvGrpSpPr/>
          <p:nvPr userDrawn="1"/>
        </p:nvGrpSpPr>
        <p:grpSpPr>
          <a:xfrm>
            <a:off x="0" y="900"/>
            <a:ext cx="9144000" cy="432000"/>
            <a:chOff x="0" y="900"/>
            <a:chExt cx="9144000" cy="432000"/>
          </a:xfrm>
        </p:grpSpPr>
        <p:sp>
          <p:nvSpPr>
            <p:cNvPr id="14" name="Rechteck 1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uppieren 17"/>
          <p:cNvGrpSpPr/>
          <p:nvPr userDrawn="1"/>
        </p:nvGrpSpPr>
        <p:grpSpPr>
          <a:xfrm>
            <a:off x="2470150" y="4922730"/>
            <a:ext cx="6423024" cy="138036"/>
            <a:chOff x="2470150" y="4922730"/>
            <a:chExt cx="6423024" cy="138036"/>
          </a:xfrm>
        </p:grpSpPr>
        <p:sp>
          <p:nvSpPr>
            <p:cNvPr id="1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Tree>
    <p:extLst>
      <p:ext uri="{BB962C8B-B14F-4D97-AF65-F5344CB8AC3E}">
        <p14:creationId xmlns:p14="http://schemas.microsoft.com/office/powerpoint/2010/main" val="3159266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aser_Hero Shot_1 Text Container_Red">
    <p:spTree>
      <p:nvGrpSpPr>
        <p:cNvPr id="1" name=""/>
        <p:cNvGrpSpPr/>
        <p:nvPr/>
      </p:nvGrpSpPr>
      <p:grpSpPr>
        <a:xfrm>
          <a:off x="0" y="0"/>
          <a:ext cx="0" cy="0"/>
          <a:chOff x="0" y="0"/>
          <a:chExt cx="0" cy="0"/>
        </a:xfrm>
      </p:grpSpPr>
      <p:pic>
        <p:nvPicPr>
          <p:cNvPr id="28" name="Picture 3" descr="T:\ASM\16-2509-ASM PPT Master\Dreieck.jp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0" y="0"/>
            <a:ext cx="2341563" cy="514508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hteck 13"/>
          <p:cNvSpPr/>
          <p:nvPr userDrawn="1"/>
        </p:nvSpPr>
        <p:spPr>
          <a:xfrm>
            <a:off x="1401289" y="1368000"/>
            <a:ext cx="7742711" cy="3781438"/>
          </a:xfrm>
          <a:custGeom>
            <a:avLst/>
            <a:gdLst>
              <a:gd name="connsiteX0" fmla="*/ 0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0 w 9144000"/>
              <a:gd name="connsiteY4" fmla="*/ 0 h 3775500"/>
              <a:gd name="connsiteX0" fmla="*/ 2873829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2873829 w 9144000"/>
              <a:gd name="connsiteY4" fmla="*/ 0 h 3775500"/>
              <a:gd name="connsiteX0" fmla="*/ 1721922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1721922 w 9144000"/>
              <a:gd name="connsiteY4" fmla="*/ 0 h 3775500"/>
              <a:gd name="connsiteX0" fmla="*/ 1739735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1739735 w 9144000"/>
              <a:gd name="connsiteY4" fmla="*/ 0 h 3775500"/>
              <a:gd name="connsiteX0" fmla="*/ 0 w 7404265"/>
              <a:gd name="connsiteY0" fmla="*/ 0 h 3781438"/>
              <a:gd name="connsiteX1" fmla="*/ 7404265 w 7404265"/>
              <a:gd name="connsiteY1" fmla="*/ 0 h 3781438"/>
              <a:gd name="connsiteX2" fmla="*/ 7404265 w 7404265"/>
              <a:gd name="connsiteY2" fmla="*/ 3775500 h 3781438"/>
              <a:gd name="connsiteX3" fmla="*/ 712520 w 7404265"/>
              <a:gd name="connsiteY3" fmla="*/ 3781438 h 3781438"/>
              <a:gd name="connsiteX4" fmla="*/ 0 w 7404265"/>
              <a:gd name="connsiteY4"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338446 w 7742711"/>
              <a:gd name="connsiteY4"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184067 w 7742711"/>
              <a:gd name="connsiteY4" fmla="*/ 1689896 h 3781438"/>
              <a:gd name="connsiteX5" fmla="*/ 338446 w 7742711"/>
              <a:gd name="connsiteY5"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1027215 w 7742711"/>
              <a:gd name="connsiteY4" fmla="*/ 1891776 h 3781438"/>
              <a:gd name="connsiteX5" fmla="*/ 338446 w 7742711"/>
              <a:gd name="connsiteY5"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938150 w 7742711"/>
              <a:gd name="connsiteY4" fmla="*/ 1868026 h 3781438"/>
              <a:gd name="connsiteX5" fmla="*/ 338446 w 7742711"/>
              <a:gd name="connsiteY5" fmla="*/ 0 h 37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42711" h="3781438">
                <a:moveTo>
                  <a:pt x="338446" y="0"/>
                </a:moveTo>
                <a:lnTo>
                  <a:pt x="7742711" y="0"/>
                </a:lnTo>
                <a:lnTo>
                  <a:pt x="7742711" y="3775500"/>
                </a:lnTo>
                <a:lnTo>
                  <a:pt x="0" y="3781438"/>
                </a:lnTo>
                <a:lnTo>
                  <a:pt x="938150" y="1868026"/>
                </a:lnTo>
                <a:lnTo>
                  <a:pt x="338446"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atumsplatzhalter 2"/>
          <p:cNvSpPr>
            <a:spLocks noGrp="1"/>
          </p:cNvSpPr>
          <p:nvPr>
            <p:ph type="dt" sz="half" idx="10"/>
          </p:nvPr>
        </p:nvSpPr>
        <p:spPr/>
        <p:txBody>
          <a:bodyPr/>
          <a:lstStyle/>
          <a:p>
            <a:fld id="{73256FFC-87C3-434C-B174-C251D483D1A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3" name="Textplatzhalter 12"/>
          <p:cNvSpPr>
            <a:spLocks noGrp="1"/>
          </p:cNvSpPr>
          <p:nvPr>
            <p:ph type="body" sz="quarter" idx="13"/>
          </p:nvPr>
        </p:nvSpPr>
        <p:spPr>
          <a:xfrm>
            <a:off x="3203848" y="2067694"/>
            <a:ext cx="5689326" cy="2736080"/>
          </a:xfrm>
        </p:spPr>
        <p:txBody>
          <a:bodyPr>
            <a:normAutofit/>
          </a:bodyPr>
          <a:lstStyle>
            <a:lvl1pPr>
              <a:defRPr lang="de-DE" sz="1600" b="1" kern="1200" dirty="0" smtClean="0">
                <a:solidFill>
                  <a:schemeClr val="bg1"/>
                </a:solidFill>
                <a:latin typeface="+mn-lt"/>
                <a:ea typeface="+mn-ea"/>
                <a:cs typeface="+mn-cs"/>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2" name="Titel 1"/>
          <p:cNvSpPr>
            <a:spLocks noGrp="1"/>
          </p:cNvSpPr>
          <p:nvPr>
            <p:ph type="title"/>
          </p:nvPr>
        </p:nvSpPr>
        <p:spPr/>
        <p:txBody>
          <a:bodyPr/>
          <a:lstStyle/>
          <a:p>
            <a:r>
              <a:rPr lang="de-DE" dirty="0"/>
              <a:t>Titelmasterformat durch Klicken bearbeiten</a:t>
            </a:r>
            <a:endParaRPr lang="en-US" dirty="0"/>
          </a:p>
        </p:txBody>
      </p:sp>
    </p:spTree>
    <p:extLst>
      <p:ext uri="{BB962C8B-B14F-4D97-AF65-F5344CB8AC3E}">
        <p14:creationId xmlns:p14="http://schemas.microsoft.com/office/powerpoint/2010/main" val="6146116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ero Shot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256FFC-87C3-434C-B174-C251D483D1A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8" name="Textplatzhalter 7"/>
          <p:cNvSpPr>
            <a:spLocks noGrp="1"/>
          </p:cNvSpPr>
          <p:nvPr>
            <p:ph type="body" sz="quarter" idx="14"/>
          </p:nvPr>
        </p:nvSpPr>
        <p:spPr>
          <a:xfrm>
            <a:off x="3203575" y="2067694"/>
            <a:ext cx="5689600" cy="273630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951050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3DD3B80-5252-4235-9B5D-3287684B330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8" name="Textplatzhalter 6"/>
          <p:cNvSpPr>
            <a:spLocks noGrp="1"/>
          </p:cNvSpPr>
          <p:nvPr>
            <p:ph type="body" sz="quarter" idx="14"/>
          </p:nvPr>
        </p:nvSpPr>
        <p:spPr>
          <a:xfrm>
            <a:off x="4681175" y="1562401"/>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9" name="Textplatzhalter 6"/>
          <p:cNvSpPr>
            <a:spLocks noGrp="1"/>
          </p:cNvSpPr>
          <p:nvPr>
            <p:ph type="body" sz="quarter" idx="15"/>
          </p:nvPr>
        </p:nvSpPr>
        <p:spPr>
          <a:xfrm>
            <a:off x="323528"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6"/>
          </p:nvPr>
        </p:nvSpPr>
        <p:spPr>
          <a:xfrm>
            <a:off x="4680854"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0487003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aser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marL="0" indent="0">
              <a:buClr>
                <a:schemeClr val="bg1"/>
              </a:buClr>
              <a:buFont typeface="Wingdings" panose="05000000000000000000" pitchFamily="2" charset="2"/>
              <a:buNone/>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a:p>
            <a:pPr lvl="0"/>
            <a:endParaRPr lang="de-DE" dirty="0"/>
          </a:p>
        </p:txBody>
      </p:sp>
    </p:spTree>
    <p:extLst>
      <p:ext uri="{BB962C8B-B14F-4D97-AF65-F5344CB8AC3E}">
        <p14:creationId xmlns:p14="http://schemas.microsoft.com/office/powerpoint/2010/main" val="15849559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aser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295275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514599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horizontal">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a:xfrm>
            <a:off x="5752647"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1" name="Bildplatzhalter 9"/>
          <p:cNvSpPr>
            <a:spLocks noGrp="1"/>
          </p:cNvSpPr>
          <p:nvPr>
            <p:ph type="pic" sz="quarter" idx="14"/>
          </p:nvPr>
        </p:nvSpPr>
        <p:spPr>
          <a:xfrm>
            <a:off x="3705705"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2" name="Bildplatzhalter 9"/>
          <p:cNvSpPr>
            <a:spLocks noGrp="1"/>
          </p:cNvSpPr>
          <p:nvPr>
            <p:ph type="pic" sz="quarter" idx="15"/>
          </p:nvPr>
        </p:nvSpPr>
        <p:spPr>
          <a:xfrm>
            <a:off x="1658764" y="3306164"/>
            <a:ext cx="1689100" cy="1281810"/>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504B2B9-1D61-40DE-BBBC-37AC4242B47C}"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6"/>
          </p:nvPr>
        </p:nvSpPr>
        <p:spPr>
          <a:xfrm>
            <a:off x="1404000" y="1562401"/>
            <a:ext cx="7488000" cy="1513406"/>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8190610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8473377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aser_2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81672609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aser_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0930165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Globe_1_Benefit">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54" y="0"/>
            <a:ext cx="9141292"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24" name="Gruppieren 23"/>
          <p:cNvGrpSpPr/>
          <p:nvPr userDrawn="1"/>
        </p:nvGrpSpPr>
        <p:grpSpPr>
          <a:xfrm>
            <a:off x="0" y="900"/>
            <a:ext cx="9144000" cy="432000"/>
            <a:chOff x="0" y="900"/>
            <a:chExt cx="9144000" cy="432000"/>
          </a:xfrm>
        </p:grpSpPr>
        <p:sp>
          <p:nvSpPr>
            <p:cNvPr id="26" name="Rechteck 25"/>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 name="Rechteck 2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olidFill>
                <a:prstClr val="white"/>
              </a:solidFill>
            </a:endParaRPr>
          </a:p>
        </p:txBody>
      </p:sp>
      <p:grpSp>
        <p:nvGrpSpPr>
          <p:cNvPr id="21" name="Gruppieren 20"/>
          <p:cNvGrpSpPr/>
          <p:nvPr userDrawn="1"/>
        </p:nvGrpSpPr>
        <p:grpSpPr>
          <a:xfrm>
            <a:off x="2470150" y="4922730"/>
            <a:ext cx="6423024" cy="138036"/>
            <a:chOff x="2470150" y="4922730"/>
            <a:chExt cx="6423024" cy="138036"/>
          </a:xfrm>
        </p:grpSpPr>
        <p:sp>
          <p:nvSpPr>
            <p:cNvPr id="22"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3"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28" name="Textplatzhalter 7"/>
          <p:cNvSpPr>
            <a:spLocks noGrp="1"/>
          </p:cNvSpPr>
          <p:nvPr userDrawn="1">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48049372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Thank You">
    <p:spTree>
      <p:nvGrpSpPr>
        <p:cNvPr id="1" name=""/>
        <p:cNvGrpSpPr/>
        <p:nvPr/>
      </p:nvGrpSpPr>
      <p:grpSpPr>
        <a:xfrm>
          <a:off x="0" y="0"/>
          <a:ext cx="0" cy="0"/>
          <a:chOff x="0" y="0"/>
          <a:chExt cx="0" cy="0"/>
        </a:xfrm>
      </p:grpSpPr>
      <p:pic>
        <p:nvPicPr>
          <p:cNvPr id="8" name="Picture 4" descr="T:\ASM\16-2458-ASM PPT Company\Titel_0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accent2"/>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6" name="Grafik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bwMode="auto">
          <a:xfrm>
            <a:off x="0" y="1"/>
            <a:ext cx="9143999" cy="352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2880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Titlle_1">
    <p:spTree>
      <p:nvGrpSpPr>
        <p:cNvPr id="1" name=""/>
        <p:cNvGrpSpPr/>
        <p:nvPr/>
      </p:nvGrpSpPr>
      <p:grpSpPr>
        <a:xfrm>
          <a:off x="0" y="0"/>
          <a:ext cx="0" cy="0"/>
          <a:chOff x="0" y="0"/>
          <a:chExt cx="0" cy="0"/>
        </a:xfrm>
      </p:grpSpPr>
      <p:pic>
        <p:nvPicPr>
          <p:cNvPr id="8" name="Picture 4" descr="T:\ASM\16-2458-ASM PPT Company\Titel_0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628800"/>
            <a:ext cx="3816000" cy="766800"/>
          </a:xfrm>
        </p:spPr>
        <p:txBody>
          <a:bodyPr lIns="0" tIns="0" rIns="0" bIns="46800"/>
          <a:lstStyle>
            <a:lvl1pPr algn="l">
              <a:defRPr b="0">
                <a:solidFill>
                  <a:schemeClr val="accent2"/>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680000"/>
            <a:ext cx="3816000" cy="392400"/>
          </a:xfrm>
        </p:spPr>
        <p:txBody>
          <a:bodyPr>
            <a:noAutofit/>
          </a:bodyPr>
          <a:lstStyle>
            <a:lvl1pPr marL="0" indent="0" algn="l">
              <a:buNone/>
              <a:defRPr b="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6" name="Grafik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bwMode="auto">
          <a:xfrm>
            <a:off x="0" y="1"/>
            <a:ext cx="9143999" cy="352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968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p:cSld name="Title_2">
    <p:spTree>
      <p:nvGrpSpPr>
        <p:cNvPr id="1" name=""/>
        <p:cNvGrpSpPr/>
        <p:nvPr/>
      </p:nvGrpSpPr>
      <p:grpSpPr>
        <a:xfrm>
          <a:off x="0" y="0"/>
          <a:ext cx="0" cy="0"/>
          <a:chOff x="0" y="0"/>
          <a:chExt cx="0" cy="0"/>
        </a:xfrm>
      </p:grpSpPr>
      <p:pic>
        <p:nvPicPr>
          <p:cNvPr id="8" name="Picture 4" descr="T:\ASM\16-2458-ASM PPT Company\Titel_0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075806"/>
            <a:ext cx="3816000" cy="766800"/>
          </a:xfrm>
        </p:spPr>
        <p:txBody>
          <a:bodyPr lIns="0" tIns="0" rIns="0" bIns="46800"/>
          <a:lstStyle>
            <a:lvl1pPr algn="l">
              <a:defRPr b="0">
                <a:solidFill>
                  <a:schemeClr val="accent2"/>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127006"/>
            <a:ext cx="3816000" cy="392400"/>
          </a:xfrm>
        </p:spPr>
        <p:txBody>
          <a:bodyPr>
            <a:noAutofit/>
          </a:bodyPr>
          <a:lstStyle>
            <a:lvl1pPr marL="0" indent="0" algn="l">
              <a:buNone/>
              <a:defRPr b="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30523173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3" name="Picture 2" descr="T:\ASM\16-2458-ASM PPT Company\number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777" y="4480018"/>
            <a:ext cx="443321" cy="39904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userDrawn="1">
            <p:ph type="dt" sz="half" idx="10"/>
          </p:nvPr>
        </p:nvSpPr>
        <p:spPr/>
        <p:txBody>
          <a:bodyPr/>
          <a:lstStyle/>
          <a:p>
            <a:fld id="{79F26052-9485-4A34-8C4D-1B52C302BD2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userDrawn="1">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userDrawn="1">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6" name="Textplatzhalter 6"/>
          <p:cNvSpPr>
            <a:spLocks noGrp="1"/>
          </p:cNvSpPr>
          <p:nvPr userDrawn="1">
            <p:ph type="body" sz="quarter" idx="13"/>
          </p:nvPr>
        </p:nvSpPr>
        <p:spPr>
          <a:xfrm>
            <a:off x="2484438" y="1275606"/>
            <a:ext cx="5040000" cy="360000"/>
          </a:xfrm>
        </p:spPr>
        <p:txBody>
          <a:bodyPr anchor="ctr" anchorCtr="0"/>
          <a:lstStyle>
            <a:lvl1pPr>
              <a:defRPr>
                <a:solidFill>
                  <a:schemeClr val="tx1"/>
                </a:solidFill>
              </a:defRPr>
            </a:lvl1pPr>
          </a:lstStyle>
          <a:p>
            <a:pPr lvl="0"/>
            <a:r>
              <a:rPr lang="de-DE" dirty="0"/>
              <a:t>Textmasterformat bearbeiten</a:t>
            </a:r>
          </a:p>
        </p:txBody>
      </p:sp>
      <p:sp>
        <p:nvSpPr>
          <p:cNvPr id="17" name="Textplatzhalter 6"/>
          <p:cNvSpPr>
            <a:spLocks noGrp="1"/>
          </p:cNvSpPr>
          <p:nvPr userDrawn="1">
            <p:ph type="body" sz="quarter" idx="14"/>
          </p:nvPr>
        </p:nvSpPr>
        <p:spPr>
          <a:xfrm>
            <a:off x="2484438" y="4443998"/>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8" name="Textplatzhalter 6"/>
          <p:cNvSpPr>
            <a:spLocks noGrp="1"/>
          </p:cNvSpPr>
          <p:nvPr userDrawn="1">
            <p:ph type="body" sz="quarter" idx="15"/>
          </p:nvPr>
        </p:nvSpPr>
        <p:spPr>
          <a:xfrm>
            <a:off x="2484438" y="4047949"/>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9" name="Textplatzhalter 6"/>
          <p:cNvSpPr>
            <a:spLocks noGrp="1"/>
          </p:cNvSpPr>
          <p:nvPr userDrawn="1">
            <p:ph type="body" sz="quarter" idx="16"/>
          </p:nvPr>
        </p:nvSpPr>
        <p:spPr>
          <a:xfrm>
            <a:off x="2484438" y="3651900"/>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0" name="Textplatzhalter 6"/>
          <p:cNvSpPr>
            <a:spLocks noGrp="1"/>
          </p:cNvSpPr>
          <p:nvPr userDrawn="1">
            <p:ph type="body" sz="quarter" idx="17"/>
          </p:nvPr>
        </p:nvSpPr>
        <p:spPr>
          <a:xfrm>
            <a:off x="2484438" y="3255851"/>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1" name="Textplatzhalter 6"/>
          <p:cNvSpPr>
            <a:spLocks noGrp="1"/>
          </p:cNvSpPr>
          <p:nvPr userDrawn="1">
            <p:ph type="body" sz="quarter" idx="18"/>
          </p:nvPr>
        </p:nvSpPr>
        <p:spPr>
          <a:xfrm>
            <a:off x="2484438" y="2859802"/>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2" name="Textplatzhalter 6"/>
          <p:cNvSpPr>
            <a:spLocks noGrp="1"/>
          </p:cNvSpPr>
          <p:nvPr userDrawn="1">
            <p:ph type="body" sz="quarter" idx="19"/>
          </p:nvPr>
        </p:nvSpPr>
        <p:spPr>
          <a:xfrm>
            <a:off x="2484438" y="2463753"/>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3" name="Textplatzhalter 6"/>
          <p:cNvSpPr>
            <a:spLocks noGrp="1"/>
          </p:cNvSpPr>
          <p:nvPr userDrawn="1">
            <p:ph type="body" sz="quarter" idx="20"/>
          </p:nvPr>
        </p:nvSpPr>
        <p:spPr>
          <a:xfrm>
            <a:off x="2484438" y="2067704"/>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4" name="Textplatzhalter 6"/>
          <p:cNvSpPr>
            <a:spLocks noGrp="1"/>
          </p:cNvSpPr>
          <p:nvPr userDrawn="1">
            <p:ph type="body" sz="quarter" idx="21"/>
          </p:nvPr>
        </p:nvSpPr>
        <p:spPr>
          <a:xfrm>
            <a:off x="2484438" y="1671655"/>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grpSp>
        <p:nvGrpSpPr>
          <p:cNvPr id="31" name="Gruppieren 30"/>
          <p:cNvGrpSpPr/>
          <p:nvPr userDrawn="1"/>
        </p:nvGrpSpPr>
        <p:grpSpPr>
          <a:xfrm>
            <a:off x="0" y="900"/>
            <a:ext cx="9144000" cy="432000"/>
            <a:chOff x="0" y="900"/>
            <a:chExt cx="9144000" cy="432000"/>
          </a:xfrm>
        </p:grpSpPr>
        <p:sp>
          <p:nvSpPr>
            <p:cNvPr id="33" name="Rechteck 32"/>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34"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uppieren 27"/>
          <p:cNvGrpSpPr/>
          <p:nvPr userDrawn="1"/>
        </p:nvGrpSpPr>
        <p:grpSpPr>
          <a:xfrm>
            <a:off x="2470150" y="4922730"/>
            <a:ext cx="6423024" cy="138036"/>
            <a:chOff x="2470150" y="4922730"/>
            <a:chExt cx="6423024" cy="138036"/>
          </a:xfrm>
        </p:grpSpPr>
        <p:sp>
          <p:nvSpPr>
            <p:cNvPr id="2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3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Tree>
    <p:extLst>
      <p:ext uri="{BB962C8B-B14F-4D97-AF65-F5344CB8AC3E}">
        <p14:creationId xmlns:p14="http://schemas.microsoft.com/office/powerpoint/2010/main" val="143318210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tandard_Text_1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CE4F27C-3F5F-4598-8485-275A0ABFE4F3}"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8"/>
            <a:ext cx="748952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76548198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9"/>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7960780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_1 Text Container_5 Pictures horizontal">
    <p:spTree>
      <p:nvGrpSpPr>
        <p:cNvPr id="1" name=""/>
        <p:cNvGrpSpPr/>
        <p:nvPr/>
      </p:nvGrpSpPr>
      <p:grpSpPr>
        <a:xfrm>
          <a:off x="0" y="0"/>
          <a:ext cx="0" cy="0"/>
          <a:chOff x="0" y="0"/>
          <a:chExt cx="0" cy="0"/>
        </a:xfrm>
      </p:grpSpPr>
      <p:sp>
        <p:nvSpPr>
          <p:cNvPr id="11" name="Bildplatzhalter 9"/>
          <p:cNvSpPr>
            <a:spLocks noGrp="1"/>
          </p:cNvSpPr>
          <p:nvPr>
            <p:ph type="pic" sz="quarter" idx="14"/>
          </p:nvPr>
        </p:nvSpPr>
        <p:spPr>
          <a:xfrm>
            <a:off x="3844374" y="3423896"/>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EAD0F36A-4623-47B9-AE7A-D1CAC87B2791}"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15" name="Bildplatzhalter 9"/>
          <p:cNvSpPr>
            <a:spLocks noGrp="1"/>
          </p:cNvSpPr>
          <p:nvPr>
            <p:ph type="pic" sz="quarter" idx="15"/>
          </p:nvPr>
        </p:nvSpPr>
        <p:spPr>
          <a:xfrm>
            <a:off x="5604636" y="3423896"/>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7" name="Bildplatzhalter 9"/>
          <p:cNvSpPr>
            <a:spLocks noGrp="1"/>
          </p:cNvSpPr>
          <p:nvPr>
            <p:ph type="pic" sz="quarter" idx="17"/>
          </p:nvPr>
        </p:nvSpPr>
        <p:spPr>
          <a:xfrm>
            <a:off x="323850" y="3423896"/>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8" name="Bildplatzhalter 9"/>
          <p:cNvSpPr>
            <a:spLocks noGrp="1"/>
          </p:cNvSpPr>
          <p:nvPr>
            <p:ph type="pic" sz="quarter" idx="18"/>
          </p:nvPr>
        </p:nvSpPr>
        <p:spPr>
          <a:xfrm>
            <a:off x="2084112" y="3423896"/>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7" name="Textplatzhalter 6"/>
          <p:cNvSpPr>
            <a:spLocks noGrp="1"/>
          </p:cNvSpPr>
          <p:nvPr>
            <p:ph type="body" sz="quarter" idx="19"/>
          </p:nvPr>
        </p:nvSpPr>
        <p:spPr>
          <a:xfrm>
            <a:off x="1403999" y="1562400"/>
            <a:ext cx="7488000" cy="151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9"/>
          <p:cNvSpPr>
            <a:spLocks noGrp="1"/>
          </p:cNvSpPr>
          <p:nvPr>
            <p:ph type="pic" sz="quarter" idx="16"/>
          </p:nvPr>
        </p:nvSpPr>
        <p:spPr>
          <a:xfrm>
            <a:off x="7364897" y="3423896"/>
            <a:ext cx="1528278" cy="1159767"/>
          </a:xfrm>
          <a:noFill/>
          <a:ln>
            <a:noFill/>
          </a:ln>
          <a:effectLst>
            <a:reflection blurRad="12700" stA="38000" endPos="16000" dist="2540" dir="5400000" sy="-100000" algn="bl" rotWithShape="0"/>
          </a:effectLst>
        </p:spPr>
        <p:txBody>
          <a:bodyPr anchor="ctr"/>
          <a:lstStyle>
            <a:lvl1pPr algn="ctr">
              <a:defRPr/>
            </a:lvl1pPr>
          </a:lstStyle>
          <a:p>
            <a:endParaRPr lang="en-US"/>
          </a:p>
        </p:txBody>
      </p:sp>
    </p:spTree>
    <p:extLst>
      <p:ext uri="{BB962C8B-B14F-4D97-AF65-F5344CB8AC3E}">
        <p14:creationId xmlns:p14="http://schemas.microsoft.com/office/powerpoint/2010/main" val="327517316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tandard_Text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3DD3B80-5252-4235-9B5D-3287684B330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8"/>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0"/>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2245716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tandard_Text_2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98587805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tandard_Text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8496868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tandard_Text_3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1"/>
            <a:ext cx="27576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6"/>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17288288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tandard_Text_4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Textplatzhalter 6"/>
          <p:cNvSpPr>
            <a:spLocks noGrp="1"/>
          </p:cNvSpPr>
          <p:nvPr>
            <p:ph type="body" sz="quarter" idx="16"/>
          </p:nvPr>
        </p:nvSpPr>
        <p:spPr>
          <a:xfrm>
            <a:off x="467999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6"/>
          <p:cNvSpPr>
            <a:spLocks noGrp="1"/>
          </p:cNvSpPr>
          <p:nvPr>
            <p:ph type="body" sz="quarter" idx="17"/>
          </p:nvPr>
        </p:nvSpPr>
        <p:spPr>
          <a:xfrm>
            <a:off x="323849" y="3258000"/>
            <a:ext cx="4212000"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2067312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tandard_Text_Table top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2732400"/>
            <a:ext cx="27576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79010090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tandard_Text_Table top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B6464876-F1E5-40CF-8F7E-1D91C47307D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0000" y="2732400"/>
            <a:ext cx="4212000" cy="207137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6"/>
          </p:nvPr>
        </p:nvSpPr>
        <p:spPr>
          <a:xfrm>
            <a:off x="323849" y="1563689"/>
            <a:ext cx="8569326" cy="1008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75846840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tandard_2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51829665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tandard_1 Text Container_2 Picture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7"/>
            <a:ext cx="53292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28522752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7"/>
            <a:ext cx="603451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7582328"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7582328"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7582328"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8572907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ro Shot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38B9DB5-8761-446F-9B38-70D2616F3D17}"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a:ln>
                  <a:noFill/>
                </a:ln>
                <a:solidFill>
                  <a:schemeClr val="tx1"/>
                </a:solidFill>
                <a:effectLst/>
                <a:latin typeface="Arial" charset="0"/>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
        <p:nvSpPr>
          <p:cNvPr id="8" name="Textplatzhalter 7"/>
          <p:cNvSpPr>
            <a:spLocks noGrp="1"/>
          </p:cNvSpPr>
          <p:nvPr>
            <p:ph type="body" sz="quarter" idx="14"/>
          </p:nvPr>
        </p:nvSpPr>
        <p:spPr>
          <a:xfrm>
            <a:off x="3203575" y="2067696"/>
            <a:ext cx="5689600" cy="273630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23388619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tandard_3 Pictures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3"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164068667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tandard_2 Pictures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EC2C4CB-926C-49F4-9D52-F4025282B75D}"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9" y="3258000"/>
            <a:ext cx="6408736"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3240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3240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31466139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andard_2 Text Container_2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EC2C4CB-926C-49F4-9D52-F4025282B75D}"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50" y="1563688"/>
            <a:ext cx="5329238"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49" y="3258000"/>
            <a:ext cx="5329239" cy="1530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6877200" y="1562400"/>
            <a:ext cx="2015975" cy="1530000"/>
          </a:xfrm>
        </p:spPr>
        <p:txBody>
          <a:bodyPr anchor="ctr"/>
          <a:lstStyle>
            <a:lvl1pPr algn="ctr">
              <a:defRPr/>
            </a:lvl1pPr>
          </a:lstStyle>
          <a:p>
            <a:endParaRPr lang="en-US"/>
          </a:p>
        </p:txBody>
      </p:sp>
      <p:sp>
        <p:nvSpPr>
          <p:cNvPr id="12" name="Bildplatzhalter 10"/>
          <p:cNvSpPr>
            <a:spLocks noGrp="1" noChangeAspect="1"/>
          </p:cNvSpPr>
          <p:nvPr>
            <p:ph type="pic" sz="quarter" idx="16"/>
          </p:nvPr>
        </p:nvSpPr>
        <p:spPr>
          <a:xfrm>
            <a:off x="6877200" y="3258000"/>
            <a:ext cx="2015975" cy="1530000"/>
          </a:xfrm>
        </p:spPr>
        <p:txBody>
          <a:bodyPr anchor="ctr"/>
          <a:lstStyle>
            <a:lvl1pPr algn="ctr">
              <a:defRPr/>
            </a:lvl1pPr>
          </a:lstStyle>
          <a:p>
            <a:endParaRPr lang="en-US"/>
          </a:p>
        </p:txBody>
      </p:sp>
    </p:spTree>
    <p:extLst>
      <p:ext uri="{BB962C8B-B14F-4D97-AF65-F5344CB8AC3E}">
        <p14:creationId xmlns:p14="http://schemas.microsoft.com/office/powerpoint/2010/main" val="22891812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tandard_3 Pictures_3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131274B-7B30-41F3-B3B7-AF5654DCA6C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8"/>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2484438" y="3831775"/>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1043975"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2484439" y="2697731"/>
            <a:ext cx="6408736"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1043975"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1043975"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64482385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tandard_3 Text Container_3 Pictur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131274B-7B30-41F3-B3B7-AF5654DCA6C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349" y="1563688"/>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4"/>
          </p:nvPr>
        </p:nvSpPr>
        <p:spPr>
          <a:xfrm>
            <a:off x="1403350" y="3831775"/>
            <a:ext cx="6047282"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Bildplatzhalter 10"/>
          <p:cNvSpPr>
            <a:spLocks noGrp="1" noChangeAspect="1"/>
          </p:cNvSpPr>
          <p:nvPr>
            <p:ph type="pic" sz="quarter" idx="15"/>
          </p:nvPr>
        </p:nvSpPr>
        <p:spPr>
          <a:xfrm>
            <a:off x="7595094" y="1563688"/>
            <a:ext cx="1296000" cy="972000"/>
          </a:xfrm>
        </p:spPr>
        <p:txBody>
          <a:bodyPr anchor="ctr"/>
          <a:lstStyle>
            <a:lvl1pPr algn="ctr">
              <a:defRPr/>
            </a:lvl1pPr>
          </a:lstStyle>
          <a:p>
            <a:endParaRPr lang="en-US" dirty="0"/>
          </a:p>
        </p:txBody>
      </p:sp>
      <p:sp>
        <p:nvSpPr>
          <p:cNvPr id="10" name="Textplatzhalter 6"/>
          <p:cNvSpPr>
            <a:spLocks noGrp="1"/>
          </p:cNvSpPr>
          <p:nvPr>
            <p:ph type="body" sz="quarter" idx="17"/>
          </p:nvPr>
        </p:nvSpPr>
        <p:spPr>
          <a:xfrm>
            <a:off x="1403349" y="2697731"/>
            <a:ext cx="6047283" cy="97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0"/>
          <p:cNvSpPr>
            <a:spLocks noGrp="1" noChangeAspect="1"/>
          </p:cNvSpPr>
          <p:nvPr>
            <p:ph type="pic" sz="quarter" idx="18"/>
          </p:nvPr>
        </p:nvSpPr>
        <p:spPr>
          <a:xfrm>
            <a:off x="7595094" y="2696400"/>
            <a:ext cx="1296000" cy="972000"/>
          </a:xfrm>
        </p:spPr>
        <p:txBody>
          <a:bodyPr anchor="ctr"/>
          <a:lstStyle>
            <a:lvl1pPr algn="ctr">
              <a:defRPr/>
            </a:lvl1pPr>
          </a:lstStyle>
          <a:p>
            <a:endParaRPr lang="en-US" dirty="0"/>
          </a:p>
        </p:txBody>
      </p:sp>
      <p:sp>
        <p:nvSpPr>
          <p:cNvPr id="14" name="Bildplatzhalter 10"/>
          <p:cNvSpPr>
            <a:spLocks noGrp="1" noChangeAspect="1"/>
          </p:cNvSpPr>
          <p:nvPr>
            <p:ph type="pic" sz="quarter" idx="19"/>
          </p:nvPr>
        </p:nvSpPr>
        <p:spPr>
          <a:xfrm>
            <a:off x="7595094" y="3831775"/>
            <a:ext cx="1296000" cy="972000"/>
          </a:xfrm>
        </p:spPr>
        <p:txBody>
          <a:bodyPr anchor="ctr"/>
          <a:lstStyle>
            <a:lvl1pPr algn="ctr">
              <a:defRPr/>
            </a:lvl1pPr>
          </a:lstStyle>
          <a:p>
            <a:endParaRPr lang="en-US" dirty="0"/>
          </a:p>
        </p:txBody>
      </p:sp>
    </p:spTree>
    <p:extLst>
      <p:ext uri="{BB962C8B-B14F-4D97-AF65-F5344CB8AC3E}">
        <p14:creationId xmlns:p14="http://schemas.microsoft.com/office/powerpoint/2010/main" val="303638401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tandard_Grafik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30" name="Textplatzhalter 6"/>
          <p:cNvSpPr>
            <a:spLocks noGrp="1"/>
          </p:cNvSpPr>
          <p:nvPr>
            <p:ph type="body" sz="quarter" idx="13"/>
          </p:nvPr>
        </p:nvSpPr>
        <p:spPr>
          <a:xfrm>
            <a:off x="4643438" y="1563687"/>
            <a:ext cx="4249736" cy="32400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9430370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
    <p:spTree>
      <p:nvGrpSpPr>
        <p:cNvPr id="1" name=""/>
        <p:cNvGrpSpPr/>
        <p:nvPr/>
      </p:nvGrpSpPr>
      <p:grpSpPr>
        <a:xfrm>
          <a:off x="0" y="0"/>
          <a:ext cx="0" cy="0"/>
          <a:chOff x="0" y="0"/>
          <a:chExt cx="0" cy="0"/>
        </a:xfrm>
      </p:grpSpPr>
      <p:sp>
        <p:nvSpPr>
          <p:cNvPr id="9" name="Bildplatzhalter 7"/>
          <p:cNvSpPr>
            <a:spLocks noGrp="1"/>
          </p:cNvSpPr>
          <p:nvPr>
            <p:ph type="pic" sz="quarter" idx="14"/>
          </p:nvPr>
        </p:nvSpPr>
        <p:spPr>
          <a:xfrm>
            <a:off x="-3711" y="432000"/>
            <a:ext cx="2341174" cy="4712400"/>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174" h="4716161">
                <a:moveTo>
                  <a:pt x="1177" y="4716161"/>
                </a:moveTo>
                <a:cubicBezTo>
                  <a:pt x="-3734" y="3141290"/>
                  <a:pt x="8622" y="1574871"/>
                  <a:pt x="3711" y="0"/>
                </a:cubicBezTo>
                <a:lnTo>
                  <a:pt x="1437356" y="131"/>
                </a:lnTo>
                <a:lnTo>
                  <a:pt x="2341174" y="2824274"/>
                </a:lnTo>
                <a:lnTo>
                  <a:pt x="1396541" y="4713067"/>
                </a:lnTo>
                <a:lnTo>
                  <a:pt x="1177" y="4716161"/>
                </a:lnTo>
                <a:close/>
              </a:path>
            </a:pathLst>
          </a:custGeom>
        </p:spPr>
        <p:txBody>
          <a:bodyPr anchor="ctr"/>
          <a:lstStyle>
            <a:lvl1pPr algn="ctr">
              <a:defRPr/>
            </a:lvl1pPr>
          </a:lstStyle>
          <a:p>
            <a:endParaRPr lang="en-US"/>
          </a:p>
        </p:txBody>
      </p:sp>
      <p:sp>
        <p:nvSpPr>
          <p:cNvPr id="3" name="Datumsplatzhalter 2"/>
          <p:cNvSpPr>
            <a:spLocks noGrp="1"/>
          </p:cNvSpPr>
          <p:nvPr>
            <p:ph type="dt" sz="half" idx="10"/>
          </p:nvPr>
        </p:nvSpPr>
        <p:spPr/>
        <p:txBody>
          <a:bodyPr/>
          <a:lstStyle/>
          <a:p>
            <a:fld id="{2099C74F-881F-48BA-9300-FD43FD81899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8"/>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rapezoid 8"/>
          <p:cNvSpPr/>
          <p:nvPr userDrawn="1"/>
        </p:nvSpPr>
        <p:spPr>
          <a:xfrm>
            <a:off x="-4136" y="431999"/>
            <a:ext cx="2010432" cy="1801333"/>
          </a:xfrm>
          <a:custGeom>
            <a:avLst/>
            <a:gdLst>
              <a:gd name="connsiteX0" fmla="*/ 0 w 1475656"/>
              <a:gd name="connsiteY0" fmla="*/ 1080120 h 1080120"/>
              <a:gd name="connsiteX1" fmla="*/ 270030 w 1475656"/>
              <a:gd name="connsiteY1" fmla="*/ 0 h 1080120"/>
              <a:gd name="connsiteX2" fmla="*/ 1205626 w 1475656"/>
              <a:gd name="connsiteY2" fmla="*/ 0 h 1080120"/>
              <a:gd name="connsiteX3" fmla="*/ 1475656 w 1475656"/>
              <a:gd name="connsiteY3" fmla="*/ 1080120 h 1080120"/>
              <a:gd name="connsiteX4" fmla="*/ 0 w 1475656"/>
              <a:gd name="connsiteY4" fmla="*/ 1080120 h 1080120"/>
              <a:gd name="connsiteX0" fmla="*/ 0 w 1475656"/>
              <a:gd name="connsiteY0" fmla="*/ 1102559 h 1102559"/>
              <a:gd name="connsiteX1" fmla="*/ 758 w 1475656"/>
              <a:gd name="connsiteY1" fmla="*/ 0 h 1102559"/>
              <a:gd name="connsiteX2" fmla="*/ 1205626 w 1475656"/>
              <a:gd name="connsiteY2" fmla="*/ 22439 h 1102559"/>
              <a:gd name="connsiteX3" fmla="*/ 1475656 w 1475656"/>
              <a:gd name="connsiteY3" fmla="*/ 1102559 h 1102559"/>
              <a:gd name="connsiteX4" fmla="*/ 0 w 1475656"/>
              <a:gd name="connsiteY4" fmla="*/ 1102559 h 1102559"/>
              <a:gd name="connsiteX0" fmla="*/ 0 w 1761756"/>
              <a:gd name="connsiteY0" fmla="*/ 1102559 h 1164267"/>
              <a:gd name="connsiteX1" fmla="*/ 758 w 1761756"/>
              <a:gd name="connsiteY1" fmla="*/ 0 h 1164267"/>
              <a:gd name="connsiteX2" fmla="*/ 1205626 w 1761756"/>
              <a:gd name="connsiteY2" fmla="*/ 22439 h 1164267"/>
              <a:gd name="connsiteX3" fmla="*/ 1761756 w 1761756"/>
              <a:gd name="connsiteY3" fmla="*/ 1164267 h 1164267"/>
              <a:gd name="connsiteX4" fmla="*/ 0 w 1761756"/>
              <a:gd name="connsiteY4" fmla="*/ 1102559 h 1164267"/>
              <a:gd name="connsiteX0" fmla="*/ 0 w 1761756"/>
              <a:gd name="connsiteY0" fmla="*/ 1124999 h 1186707"/>
              <a:gd name="connsiteX1" fmla="*/ 758 w 1761756"/>
              <a:gd name="connsiteY1" fmla="*/ 22440 h 1186707"/>
              <a:gd name="connsiteX2" fmla="*/ 1379531 w 1761756"/>
              <a:gd name="connsiteY2" fmla="*/ 0 h 1186707"/>
              <a:gd name="connsiteX3" fmla="*/ 1761756 w 1761756"/>
              <a:gd name="connsiteY3" fmla="*/ 1186707 h 1186707"/>
              <a:gd name="connsiteX4" fmla="*/ 0 w 1761756"/>
              <a:gd name="connsiteY4" fmla="*/ 1124999 h 1186707"/>
              <a:gd name="connsiteX0" fmla="*/ 0 w 1767366"/>
              <a:gd name="connsiteY0" fmla="*/ 1338172 h 1338172"/>
              <a:gd name="connsiteX1" fmla="*/ 6368 w 1767366"/>
              <a:gd name="connsiteY1" fmla="*/ 22440 h 1338172"/>
              <a:gd name="connsiteX2" fmla="*/ 1385141 w 1767366"/>
              <a:gd name="connsiteY2" fmla="*/ 0 h 1338172"/>
              <a:gd name="connsiteX3" fmla="*/ 1767366 w 1767366"/>
              <a:gd name="connsiteY3" fmla="*/ 1186707 h 1338172"/>
              <a:gd name="connsiteX4" fmla="*/ 0 w 1767366"/>
              <a:gd name="connsiteY4" fmla="*/ 1338172 h 1338172"/>
              <a:gd name="connsiteX0" fmla="*/ 0 w 1801025"/>
              <a:gd name="connsiteY0" fmla="*/ 1338172 h 1338172"/>
              <a:gd name="connsiteX1" fmla="*/ 6368 w 1801025"/>
              <a:gd name="connsiteY1" fmla="*/ 22440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69743 w 1801025"/>
              <a:gd name="connsiteY1" fmla="*/ 117502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38056 w 1801025"/>
              <a:gd name="connsiteY1" fmla="*/ 198984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234057 h 1234057"/>
              <a:gd name="connsiteX1" fmla="*/ 38056 w 1801025"/>
              <a:gd name="connsiteY1" fmla="*/ 94869 h 1234057"/>
              <a:gd name="connsiteX2" fmla="*/ 1434935 w 1801025"/>
              <a:gd name="connsiteY2" fmla="*/ 0 h 1234057"/>
              <a:gd name="connsiteX3" fmla="*/ 1801025 w 1801025"/>
              <a:gd name="connsiteY3" fmla="*/ 1234057 h 1234057"/>
              <a:gd name="connsiteX4" fmla="*/ 0 w 1801025"/>
              <a:gd name="connsiteY4" fmla="*/ 1234057 h 1234057"/>
              <a:gd name="connsiteX0" fmla="*/ 0 w 1801025"/>
              <a:gd name="connsiteY0" fmla="*/ 1247634 h 1247634"/>
              <a:gd name="connsiteX1" fmla="*/ 38056 w 1801025"/>
              <a:gd name="connsiteY1" fmla="*/ 108446 h 1247634"/>
              <a:gd name="connsiteX2" fmla="*/ 4527 w 1801025"/>
              <a:gd name="connsiteY2" fmla="*/ 0 h 1247634"/>
              <a:gd name="connsiteX3" fmla="*/ 1434935 w 1801025"/>
              <a:gd name="connsiteY3" fmla="*/ 13577 h 1247634"/>
              <a:gd name="connsiteX4" fmla="*/ 1801025 w 1801025"/>
              <a:gd name="connsiteY4" fmla="*/ 1247634 h 1247634"/>
              <a:gd name="connsiteX5" fmla="*/ 0 w 1801025"/>
              <a:gd name="connsiteY5"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131473 w 1932498"/>
              <a:gd name="connsiteY0" fmla="*/ 1247634 h 1247634"/>
              <a:gd name="connsiteX1" fmla="*/ 136000 w 1932498"/>
              <a:gd name="connsiteY1" fmla="*/ 0 h 1247634"/>
              <a:gd name="connsiteX2" fmla="*/ 1566408 w 1932498"/>
              <a:gd name="connsiteY2" fmla="*/ 13577 h 1247634"/>
              <a:gd name="connsiteX3" fmla="*/ 1932498 w 1932498"/>
              <a:gd name="connsiteY3" fmla="*/ 1247634 h 1247634"/>
              <a:gd name="connsiteX4" fmla="*/ 131473 w 1932498"/>
              <a:gd name="connsiteY4" fmla="*/ 1247634 h 1247634"/>
              <a:gd name="connsiteX0" fmla="*/ 0 w 1801025"/>
              <a:gd name="connsiteY0" fmla="*/ 1247634 h 1247634"/>
              <a:gd name="connsiteX1" fmla="*/ 4527 w 1801025"/>
              <a:gd name="connsiteY1" fmla="*/ 0 h 1247634"/>
              <a:gd name="connsiteX2" fmla="*/ 1434935 w 1801025"/>
              <a:gd name="connsiteY2" fmla="*/ 13577 h 1247634"/>
              <a:gd name="connsiteX3" fmla="*/ 1801025 w 1801025"/>
              <a:gd name="connsiteY3" fmla="*/ 1247634 h 1247634"/>
              <a:gd name="connsiteX4" fmla="*/ 0 w 1801025"/>
              <a:gd name="connsiteY4" fmla="*/ 1247634 h 1247634"/>
              <a:gd name="connsiteX0" fmla="*/ 0 w 1801025"/>
              <a:gd name="connsiteY0" fmla="*/ 1249130 h 1249130"/>
              <a:gd name="connsiteX1" fmla="*/ 4527 w 1801025"/>
              <a:gd name="connsiteY1" fmla="*/ 1496 h 1249130"/>
              <a:gd name="connsiteX2" fmla="*/ 1424887 w 1801025"/>
              <a:gd name="connsiteY2" fmla="*/ 0 h 1249130"/>
              <a:gd name="connsiteX3" fmla="*/ 1801025 w 1801025"/>
              <a:gd name="connsiteY3" fmla="*/ 1249130 h 1249130"/>
              <a:gd name="connsiteX4" fmla="*/ 0 w 1801025"/>
              <a:gd name="connsiteY4" fmla="*/ 1249130 h 1249130"/>
              <a:gd name="connsiteX0" fmla="*/ 0 w 1836194"/>
              <a:gd name="connsiteY0" fmla="*/ 1249130 h 1249130"/>
              <a:gd name="connsiteX1" fmla="*/ 4527 w 1836194"/>
              <a:gd name="connsiteY1" fmla="*/ 1496 h 1249130"/>
              <a:gd name="connsiteX2" fmla="*/ 1424887 w 1836194"/>
              <a:gd name="connsiteY2" fmla="*/ 0 h 1249130"/>
              <a:gd name="connsiteX3" fmla="*/ 1836194 w 1836194"/>
              <a:gd name="connsiteY3" fmla="*/ 1249130 h 1249130"/>
              <a:gd name="connsiteX4" fmla="*/ 0 w 1836194"/>
              <a:gd name="connsiteY4" fmla="*/ 1249130 h 1249130"/>
              <a:gd name="connsiteX0" fmla="*/ 0 w 1836194"/>
              <a:gd name="connsiteY0" fmla="*/ 1249130 h 1249130"/>
              <a:gd name="connsiteX1" fmla="*/ 4527 w 1836194"/>
              <a:gd name="connsiteY1" fmla="*/ 1496 h 1249130"/>
              <a:gd name="connsiteX2" fmla="*/ 1439960 w 1836194"/>
              <a:gd name="connsiteY2" fmla="*/ 0 h 1249130"/>
              <a:gd name="connsiteX3" fmla="*/ 1836194 w 1836194"/>
              <a:gd name="connsiteY3" fmla="*/ 1249130 h 1249130"/>
              <a:gd name="connsiteX4" fmla="*/ 0 w 1836194"/>
              <a:gd name="connsiteY4" fmla="*/ 1249130 h 1249130"/>
              <a:gd name="connsiteX0" fmla="*/ 0 w 2002449"/>
              <a:gd name="connsiteY0" fmla="*/ 1249130 h 1795395"/>
              <a:gd name="connsiteX1" fmla="*/ 4527 w 2002449"/>
              <a:gd name="connsiteY1" fmla="*/ 1496 h 1795395"/>
              <a:gd name="connsiteX2" fmla="*/ 1439960 w 2002449"/>
              <a:gd name="connsiteY2" fmla="*/ 0 h 1795395"/>
              <a:gd name="connsiteX3" fmla="*/ 2002449 w 2002449"/>
              <a:gd name="connsiteY3" fmla="*/ 1795395 h 1795395"/>
              <a:gd name="connsiteX4" fmla="*/ 0 w 2002449"/>
              <a:gd name="connsiteY4" fmla="*/ 1249130 h 1795395"/>
              <a:gd name="connsiteX0" fmla="*/ 0 w 2002449"/>
              <a:gd name="connsiteY0" fmla="*/ 1801333 h 1801333"/>
              <a:gd name="connsiteX1" fmla="*/ 4527 w 2002449"/>
              <a:gd name="connsiteY1" fmla="*/ 1496 h 1801333"/>
              <a:gd name="connsiteX2" fmla="*/ 1439960 w 2002449"/>
              <a:gd name="connsiteY2" fmla="*/ 0 h 1801333"/>
              <a:gd name="connsiteX3" fmla="*/ 2002449 w 2002449"/>
              <a:gd name="connsiteY3" fmla="*/ 1795395 h 1801333"/>
              <a:gd name="connsiteX4" fmla="*/ 0 w 2002449"/>
              <a:gd name="connsiteY4" fmla="*/ 1801333 h 1801333"/>
              <a:gd name="connsiteX0" fmla="*/ 3748 w 2006197"/>
              <a:gd name="connsiteY0" fmla="*/ 1801333 h 1801333"/>
              <a:gd name="connsiteX1" fmla="*/ 0 w 2006197"/>
              <a:gd name="connsiteY1" fmla="*/ 1496 h 1801333"/>
              <a:gd name="connsiteX2" fmla="*/ 1443708 w 2006197"/>
              <a:gd name="connsiteY2" fmla="*/ 0 h 1801333"/>
              <a:gd name="connsiteX3" fmla="*/ 2006197 w 2006197"/>
              <a:gd name="connsiteY3" fmla="*/ 1795395 h 1801333"/>
              <a:gd name="connsiteX4" fmla="*/ 3748 w 2006197"/>
              <a:gd name="connsiteY4" fmla="*/ 1801333 h 1801333"/>
              <a:gd name="connsiteX0" fmla="*/ 0 w 2006587"/>
              <a:gd name="connsiteY0" fmla="*/ 1801333 h 1801333"/>
              <a:gd name="connsiteX1" fmla="*/ 390 w 2006587"/>
              <a:gd name="connsiteY1" fmla="*/ 1496 h 1801333"/>
              <a:gd name="connsiteX2" fmla="*/ 1444098 w 2006587"/>
              <a:gd name="connsiteY2" fmla="*/ 0 h 1801333"/>
              <a:gd name="connsiteX3" fmla="*/ 2006587 w 2006587"/>
              <a:gd name="connsiteY3" fmla="*/ 1795395 h 1801333"/>
              <a:gd name="connsiteX4" fmla="*/ 0 w 2006587"/>
              <a:gd name="connsiteY4" fmla="*/ 1801333 h 1801333"/>
              <a:gd name="connsiteX0" fmla="*/ 0 w 2014862"/>
              <a:gd name="connsiteY0" fmla="*/ 1801333 h 1801333"/>
              <a:gd name="connsiteX1" fmla="*/ 390 w 2014862"/>
              <a:gd name="connsiteY1" fmla="*/ 1496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1333 h 1801333"/>
              <a:gd name="connsiteX1" fmla="*/ 91397 w 2014862"/>
              <a:gd name="connsiteY1" fmla="*/ 101170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8504 h 1808504"/>
              <a:gd name="connsiteX1" fmla="*/ 390 w 2014862"/>
              <a:gd name="connsiteY1" fmla="*/ 0 h 1808504"/>
              <a:gd name="connsiteX2" fmla="*/ 1444098 w 2014862"/>
              <a:gd name="connsiteY2" fmla="*/ 7171 h 1808504"/>
              <a:gd name="connsiteX3" fmla="*/ 2014862 w 2014862"/>
              <a:gd name="connsiteY3" fmla="*/ 1802566 h 1808504"/>
              <a:gd name="connsiteX4" fmla="*/ 0 w 2014862"/>
              <a:gd name="connsiteY4" fmla="*/ 1808504 h 1808504"/>
              <a:gd name="connsiteX0" fmla="*/ 8278 w 2023140"/>
              <a:gd name="connsiteY0" fmla="*/ 1804170 h 1804170"/>
              <a:gd name="connsiteX1" fmla="*/ 0 w 2023140"/>
              <a:gd name="connsiteY1" fmla="*/ 0 h 1804170"/>
              <a:gd name="connsiteX2" fmla="*/ 1452376 w 2023140"/>
              <a:gd name="connsiteY2" fmla="*/ 2837 h 1804170"/>
              <a:gd name="connsiteX3" fmla="*/ 2023140 w 2023140"/>
              <a:gd name="connsiteY3" fmla="*/ 1798232 h 1804170"/>
              <a:gd name="connsiteX4" fmla="*/ 8278 w 2023140"/>
              <a:gd name="connsiteY4" fmla="*/ 1804170 h 1804170"/>
              <a:gd name="connsiteX0" fmla="*/ 3944 w 2018806"/>
              <a:gd name="connsiteY0" fmla="*/ 1804170 h 1804170"/>
              <a:gd name="connsiteX1" fmla="*/ 0 w 2018806"/>
              <a:gd name="connsiteY1" fmla="*/ 0 h 1804170"/>
              <a:gd name="connsiteX2" fmla="*/ 1448042 w 2018806"/>
              <a:gd name="connsiteY2" fmla="*/ 2837 h 1804170"/>
              <a:gd name="connsiteX3" fmla="*/ 2018806 w 2018806"/>
              <a:gd name="connsiteY3" fmla="*/ 1798232 h 1804170"/>
              <a:gd name="connsiteX4" fmla="*/ 3944 w 2018806"/>
              <a:gd name="connsiteY4" fmla="*/ 1804170 h 1804170"/>
              <a:gd name="connsiteX0" fmla="*/ 0 w 2014862"/>
              <a:gd name="connsiteY0" fmla="*/ 1804170 h 1804170"/>
              <a:gd name="connsiteX1" fmla="*/ 9057 w 2014862"/>
              <a:gd name="connsiteY1" fmla="*/ 0 h 1804170"/>
              <a:gd name="connsiteX2" fmla="*/ 1444098 w 2014862"/>
              <a:gd name="connsiteY2" fmla="*/ 2837 h 1804170"/>
              <a:gd name="connsiteX3" fmla="*/ 2014862 w 2014862"/>
              <a:gd name="connsiteY3" fmla="*/ 1798232 h 1804170"/>
              <a:gd name="connsiteX4" fmla="*/ 0 w 2014862"/>
              <a:gd name="connsiteY4" fmla="*/ 1804170 h 1804170"/>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4723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1333 h 1801333"/>
              <a:gd name="connsiteX1" fmla="*/ 4723 w 2014862"/>
              <a:gd name="connsiteY1" fmla="*/ 5831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12837 h 1812837"/>
              <a:gd name="connsiteX1" fmla="*/ 389 w 2014862"/>
              <a:gd name="connsiteY1" fmla="*/ 0 h 1812837"/>
              <a:gd name="connsiteX2" fmla="*/ 1444098 w 2014862"/>
              <a:gd name="connsiteY2" fmla="*/ 11504 h 1812837"/>
              <a:gd name="connsiteX3" fmla="*/ 2014862 w 2014862"/>
              <a:gd name="connsiteY3" fmla="*/ 1806899 h 1812837"/>
              <a:gd name="connsiteX4" fmla="*/ 0 w 2014862"/>
              <a:gd name="connsiteY4" fmla="*/ 1812837 h 1812837"/>
              <a:gd name="connsiteX0" fmla="*/ 0 w 2014862"/>
              <a:gd name="connsiteY0" fmla="*/ 1801333 h 1801333"/>
              <a:gd name="connsiteX1" fmla="*/ 4722 w 2014862"/>
              <a:gd name="connsiteY1" fmla="*/ 1497 h 1801333"/>
              <a:gd name="connsiteX2" fmla="*/ 1444098 w 2014862"/>
              <a:gd name="connsiteY2" fmla="*/ 0 h 1801333"/>
              <a:gd name="connsiteX3" fmla="*/ 2014862 w 2014862"/>
              <a:gd name="connsiteY3" fmla="*/ 1795395 h 1801333"/>
              <a:gd name="connsiteX4" fmla="*/ 0 w 2014862"/>
              <a:gd name="connsiteY4" fmla="*/ 1801333 h 1801333"/>
              <a:gd name="connsiteX0" fmla="*/ 0 w 1949857"/>
              <a:gd name="connsiteY0" fmla="*/ 1801333 h 1801333"/>
              <a:gd name="connsiteX1" fmla="*/ 4722 w 1949857"/>
              <a:gd name="connsiteY1" fmla="*/ 1497 h 1801333"/>
              <a:gd name="connsiteX2" fmla="*/ 1444098 w 1949857"/>
              <a:gd name="connsiteY2" fmla="*/ 0 h 1801333"/>
              <a:gd name="connsiteX3" fmla="*/ 1949857 w 1949857"/>
              <a:gd name="connsiteY3" fmla="*/ 1795395 h 1801333"/>
              <a:gd name="connsiteX4" fmla="*/ 0 w 1949857"/>
              <a:gd name="connsiteY4" fmla="*/ 1801333 h 1801333"/>
              <a:gd name="connsiteX0" fmla="*/ 0 w 2010432"/>
              <a:gd name="connsiteY0" fmla="*/ 1801333 h 1801333"/>
              <a:gd name="connsiteX1" fmla="*/ 4722 w 2010432"/>
              <a:gd name="connsiteY1" fmla="*/ 1497 h 1801333"/>
              <a:gd name="connsiteX2" fmla="*/ 1444098 w 2010432"/>
              <a:gd name="connsiteY2" fmla="*/ 0 h 1801333"/>
              <a:gd name="connsiteX3" fmla="*/ 2010432 w 2010432"/>
              <a:gd name="connsiteY3" fmla="*/ 1792510 h 1801333"/>
              <a:gd name="connsiteX4" fmla="*/ 0 w 2010432"/>
              <a:gd name="connsiteY4" fmla="*/ 1801333 h 180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0432" h="1801333">
                <a:moveTo>
                  <a:pt x="0" y="1801333"/>
                </a:moveTo>
                <a:cubicBezTo>
                  <a:pt x="2035" y="1683829"/>
                  <a:pt x="6727" y="634228"/>
                  <a:pt x="4722" y="1497"/>
                </a:cubicBezTo>
                <a:lnTo>
                  <a:pt x="1444098" y="0"/>
                </a:lnTo>
                <a:lnTo>
                  <a:pt x="2010432" y="1792510"/>
                </a:lnTo>
                <a:lnTo>
                  <a:pt x="0" y="1801333"/>
                </a:lnTo>
                <a:close/>
              </a:path>
            </a:pathLst>
          </a:custGeom>
          <a:gradFill flip="none" rotWithShape="0">
            <a:gsLst>
              <a:gs pos="94000">
                <a:schemeClr val="bg1">
                  <a:alpha val="0"/>
                </a:schemeClr>
              </a:gs>
              <a:gs pos="42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dirty="0"/>
              <a:t>Titelmasterformat durch Klicken bearbeiten</a:t>
            </a:r>
            <a:endParaRPr lang="en-US" dirty="0"/>
          </a:p>
        </p:txBody>
      </p:sp>
    </p:spTree>
    <p:extLst>
      <p:ext uri="{BB962C8B-B14F-4D97-AF65-F5344CB8AC3E}">
        <p14:creationId xmlns:p14="http://schemas.microsoft.com/office/powerpoint/2010/main" val="90323378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_Benefi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2099C74F-881F-48BA-9300-FD43FD81899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9"/>
            <a:ext cx="6408736" cy="295275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Bildplatzhalter 7"/>
          <p:cNvSpPr>
            <a:spLocks noGrp="1"/>
          </p:cNvSpPr>
          <p:nvPr>
            <p:ph type="pic" sz="quarter" idx="14"/>
          </p:nvPr>
        </p:nvSpPr>
        <p:spPr>
          <a:xfrm>
            <a:off x="-3711" y="432000"/>
            <a:ext cx="2341174" cy="4712400"/>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174" h="4716161">
                <a:moveTo>
                  <a:pt x="1177" y="4716161"/>
                </a:moveTo>
                <a:cubicBezTo>
                  <a:pt x="-3734" y="3141290"/>
                  <a:pt x="8622" y="1574871"/>
                  <a:pt x="3711" y="0"/>
                </a:cubicBezTo>
                <a:lnTo>
                  <a:pt x="1437356" y="131"/>
                </a:lnTo>
                <a:lnTo>
                  <a:pt x="2341174" y="2824274"/>
                </a:lnTo>
                <a:lnTo>
                  <a:pt x="1396541" y="4713067"/>
                </a:lnTo>
                <a:lnTo>
                  <a:pt x="1177" y="4716161"/>
                </a:lnTo>
                <a:close/>
              </a:path>
            </a:pathLst>
          </a:custGeom>
        </p:spPr>
        <p:txBody>
          <a:bodyPr anchor="ctr"/>
          <a:lstStyle>
            <a:lvl1pPr algn="ctr">
              <a:defRPr/>
            </a:lvl1pPr>
          </a:lstStyle>
          <a:p>
            <a:endParaRPr lang="en-US"/>
          </a:p>
        </p:txBody>
      </p:sp>
      <p:sp>
        <p:nvSpPr>
          <p:cNvPr id="15" name="Trapezoid 8"/>
          <p:cNvSpPr/>
          <p:nvPr userDrawn="1"/>
        </p:nvSpPr>
        <p:spPr>
          <a:xfrm>
            <a:off x="-3600" y="432000"/>
            <a:ext cx="2002449" cy="1801333"/>
          </a:xfrm>
          <a:custGeom>
            <a:avLst/>
            <a:gdLst>
              <a:gd name="connsiteX0" fmla="*/ 0 w 1475656"/>
              <a:gd name="connsiteY0" fmla="*/ 1080120 h 1080120"/>
              <a:gd name="connsiteX1" fmla="*/ 270030 w 1475656"/>
              <a:gd name="connsiteY1" fmla="*/ 0 h 1080120"/>
              <a:gd name="connsiteX2" fmla="*/ 1205626 w 1475656"/>
              <a:gd name="connsiteY2" fmla="*/ 0 h 1080120"/>
              <a:gd name="connsiteX3" fmla="*/ 1475656 w 1475656"/>
              <a:gd name="connsiteY3" fmla="*/ 1080120 h 1080120"/>
              <a:gd name="connsiteX4" fmla="*/ 0 w 1475656"/>
              <a:gd name="connsiteY4" fmla="*/ 1080120 h 1080120"/>
              <a:gd name="connsiteX0" fmla="*/ 0 w 1475656"/>
              <a:gd name="connsiteY0" fmla="*/ 1102559 h 1102559"/>
              <a:gd name="connsiteX1" fmla="*/ 758 w 1475656"/>
              <a:gd name="connsiteY1" fmla="*/ 0 h 1102559"/>
              <a:gd name="connsiteX2" fmla="*/ 1205626 w 1475656"/>
              <a:gd name="connsiteY2" fmla="*/ 22439 h 1102559"/>
              <a:gd name="connsiteX3" fmla="*/ 1475656 w 1475656"/>
              <a:gd name="connsiteY3" fmla="*/ 1102559 h 1102559"/>
              <a:gd name="connsiteX4" fmla="*/ 0 w 1475656"/>
              <a:gd name="connsiteY4" fmla="*/ 1102559 h 1102559"/>
              <a:gd name="connsiteX0" fmla="*/ 0 w 1761756"/>
              <a:gd name="connsiteY0" fmla="*/ 1102559 h 1164267"/>
              <a:gd name="connsiteX1" fmla="*/ 758 w 1761756"/>
              <a:gd name="connsiteY1" fmla="*/ 0 h 1164267"/>
              <a:gd name="connsiteX2" fmla="*/ 1205626 w 1761756"/>
              <a:gd name="connsiteY2" fmla="*/ 22439 h 1164267"/>
              <a:gd name="connsiteX3" fmla="*/ 1761756 w 1761756"/>
              <a:gd name="connsiteY3" fmla="*/ 1164267 h 1164267"/>
              <a:gd name="connsiteX4" fmla="*/ 0 w 1761756"/>
              <a:gd name="connsiteY4" fmla="*/ 1102559 h 1164267"/>
              <a:gd name="connsiteX0" fmla="*/ 0 w 1761756"/>
              <a:gd name="connsiteY0" fmla="*/ 1124999 h 1186707"/>
              <a:gd name="connsiteX1" fmla="*/ 758 w 1761756"/>
              <a:gd name="connsiteY1" fmla="*/ 22440 h 1186707"/>
              <a:gd name="connsiteX2" fmla="*/ 1379531 w 1761756"/>
              <a:gd name="connsiteY2" fmla="*/ 0 h 1186707"/>
              <a:gd name="connsiteX3" fmla="*/ 1761756 w 1761756"/>
              <a:gd name="connsiteY3" fmla="*/ 1186707 h 1186707"/>
              <a:gd name="connsiteX4" fmla="*/ 0 w 1761756"/>
              <a:gd name="connsiteY4" fmla="*/ 1124999 h 1186707"/>
              <a:gd name="connsiteX0" fmla="*/ 0 w 1767366"/>
              <a:gd name="connsiteY0" fmla="*/ 1338172 h 1338172"/>
              <a:gd name="connsiteX1" fmla="*/ 6368 w 1767366"/>
              <a:gd name="connsiteY1" fmla="*/ 22440 h 1338172"/>
              <a:gd name="connsiteX2" fmla="*/ 1385141 w 1767366"/>
              <a:gd name="connsiteY2" fmla="*/ 0 h 1338172"/>
              <a:gd name="connsiteX3" fmla="*/ 1767366 w 1767366"/>
              <a:gd name="connsiteY3" fmla="*/ 1186707 h 1338172"/>
              <a:gd name="connsiteX4" fmla="*/ 0 w 1767366"/>
              <a:gd name="connsiteY4" fmla="*/ 1338172 h 1338172"/>
              <a:gd name="connsiteX0" fmla="*/ 0 w 1801025"/>
              <a:gd name="connsiteY0" fmla="*/ 1338172 h 1338172"/>
              <a:gd name="connsiteX1" fmla="*/ 6368 w 1801025"/>
              <a:gd name="connsiteY1" fmla="*/ 22440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69743 w 1801025"/>
              <a:gd name="connsiteY1" fmla="*/ 117502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38056 w 1801025"/>
              <a:gd name="connsiteY1" fmla="*/ 198984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234057 h 1234057"/>
              <a:gd name="connsiteX1" fmla="*/ 38056 w 1801025"/>
              <a:gd name="connsiteY1" fmla="*/ 94869 h 1234057"/>
              <a:gd name="connsiteX2" fmla="*/ 1434935 w 1801025"/>
              <a:gd name="connsiteY2" fmla="*/ 0 h 1234057"/>
              <a:gd name="connsiteX3" fmla="*/ 1801025 w 1801025"/>
              <a:gd name="connsiteY3" fmla="*/ 1234057 h 1234057"/>
              <a:gd name="connsiteX4" fmla="*/ 0 w 1801025"/>
              <a:gd name="connsiteY4" fmla="*/ 1234057 h 1234057"/>
              <a:gd name="connsiteX0" fmla="*/ 0 w 1801025"/>
              <a:gd name="connsiteY0" fmla="*/ 1247634 h 1247634"/>
              <a:gd name="connsiteX1" fmla="*/ 38056 w 1801025"/>
              <a:gd name="connsiteY1" fmla="*/ 108446 h 1247634"/>
              <a:gd name="connsiteX2" fmla="*/ 4527 w 1801025"/>
              <a:gd name="connsiteY2" fmla="*/ 0 h 1247634"/>
              <a:gd name="connsiteX3" fmla="*/ 1434935 w 1801025"/>
              <a:gd name="connsiteY3" fmla="*/ 13577 h 1247634"/>
              <a:gd name="connsiteX4" fmla="*/ 1801025 w 1801025"/>
              <a:gd name="connsiteY4" fmla="*/ 1247634 h 1247634"/>
              <a:gd name="connsiteX5" fmla="*/ 0 w 1801025"/>
              <a:gd name="connsiteY5"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131473 w 1932498"/>
              <a:gd name="connsiteY0" fmla="*/ 1247634 h 1247634"/>
              <a:gd name="connsiteX1" fmla="*/ 136000 w 1932498"/>
              <a:gd name="connsiteY1" fmla="*/ 0 h 1247634"/>
              <a:gd name="connsiteX2" fmla="*/ 1566408 w 1932498"/>
              <a:gd name="connsiteY2" fmla="*/ 13577 h 1247634"/>
              <a:gd name="connsiteX3" fmla="*/ 1932498 w 1932498"/>
              <a:gd name="connsiteY3" fmla="*/ 1247634 h 1247634"/>
              <a:gd name="connsiteX4" fmla="*/ 131473 w 1932498"/>
              <a:gd name="connsiteY4" fmla="*/ 1247634 h 1247634"/>
              <a:gd name="connsiteX0" fmla="*/ 0 w 1801025"/>
              <a:gd name="connsiteY0" fmla="*/ 1247634 h 1247634"/>
              <a:gd name="connsiteX1" fmla="*/ 4527 w 1801025"/>
              <a:gd name="connsiteY1" fmla="*/ 0 h 1247634"/>
              <a:gd name="connsiteX2" fmla="*/ 1434935 w 1801025"/>
              <a:gd name="connsiteY2" fmla="*/ 13577 h 1247634"/>
              <a:gd name="connsiteX3" fmla="*/ 1801025 w 1801025"/>
              <a:gd name="connsiteY3" fmla="*/ 1247634 h 1247634"/>
              <a:gd name="connsiteX4" fmla="*/ 0 w 1801025"/>
              <a:gd name="connsiteY4" fmla="*/ 1247634 h 1247634"/>
              <a:gd name="connsiteX0" fmla="*/ 0 w 1801025"/>
              <a:gd name="connsiteY0" fmla="*/ 1249130 h 1249130"/>
              <a:gd name="connsiteX1" fmla="*/ 4527 w 1801025"/>
              <a:gd name="connsiteY1" fmla="*/ 1496 h 1249130"/>
              <a:gd name="connsiteX2" fmla="*/ 1424887 w 1801025"/>
              <a:gd name="connsiteY2" fmla="*/ 0 h 1249130"/>
              <a:gd name="connsiteX3" fmla="*/ 1801025 w 1801025"/>
              <a:gd name="connsiteY3" fmla="*/ 1249130 h 1249130"/>
              <a:gd name="connsiteX4" fmla="*/ 0 w 1801025"/>
              <a:gd name="connsiteY4" fmla="*/ 1249130 h 1249130"/>
              <a:gd name="connsiteX0" fmla="*/ 0 w 1836194"/>
              <a:gd name="connsiteY0" fmla="*/ 1249130 h 1249130"/>
              <a:gd name="connsiteX1" fmla="*/ 4527 w 1836194"/>
              <a:gd name="connsiteY1" fmla="*/ 1496 h 1249130"/>
              <a:gd name="connsiteX2" fmla="*/ 1424887 w 1836194"/>
              <a:gd name="connsiteY2" fmla="*/ 0 h 1249130"/>
              <a:gd name="connsiteX3" fmla="*/ 1836194 w 1836194"/>
              <a:gd name="connsiteY3" fmla="*/ 1249130 h 1249130"/>
              <a:gd name="connsiteX4" fmla="*/ 0 w 1836194"/>
              <a:gd name="connsiteY4" fmla="*/ 1249130 h 1249130"/>
              <a:gd name="connsiteX0" fmla="*/ 0 w 1836194"/>
              <a:gd name="connsiteY0" fmla="*/ 1249130 h 1249130"/>
              <a:gd name="connsiteX1" fmla="*/ 4527 w 1836194"/>
              <a:gd name="connsiteY1" fmla="*/ 1496 h 1249130"/>
              <a:gd name="connsiteX2" fmla="*/ 1439960 w 1836194"/>
              <a:gd name="connsiteY2" fmla="*/ 0 h 1249130"/>
              <a:gd name="connsiteX3" fmla="*/ 1836194 w 1836194"/>
              <a:gd name="connsiteY3" fmla="*/ 1249130 h 1249130"/>
              <a:gd name="connsiteX4" fmla="*/ 0 w 1836194"/>
              <a:gd name="connsiteY4" fmla="*/ 1249130 h 1249130"/>
              <a:gd name="connsiteX0" fmla="*/ 0 w 2002449"/>
              <a:gd name="connsiteY0" fmla="*/ 1249130 h 1795395"/>
              <a:gd name="connsiteX1" fmla="*/ 4527 w 2002449"/>
              <a:gd name="connsiteY1" fmla="*/ 1496 h 1795395"/>
              <a:gd name="connsiteX2" fmla="*/ 1439960 w 2002449"/>
              <a:gd name="connsiteY2" fmla="*/ 0 h 1795395"/>
              <a:gd name="connsiteX3" fmla="*/ 2002449 w 2002449"/>
              <a:gd name="connsiteY3" fmla="*/ 1795395 h 1795395"/>
              <a:gd name="connsiteX4" fmla="*/ 0 w 2002449"/>
              <a:gd name="connsiteY4" fmla="*/ 1249130 h 1795395"/>
              <a:gd name="connsiteX0" fmla="*/ 0 w 2002449"/>
              <a:gd name="connsiteY0" fmla="*/ 1801333 h 1801333"/>
              <a:gd name="connsiteX1" fmla="*/ 4527 w 2002449"/>
              <a:gd name="connsiteY1" fmla="*/ 1496 h 1801333"/>
              <a:gd name="connsiteX2" fmla="*/ 1439960 w 2002449"/>
              <a:gd name="connsiteY2" fmla="*/ 0 h 1801333"/>
              <a:gd name="connsiteX3" fmla="*/ 2002449 w 2002449"/>
              <a:gd name="connsiteY3" fmla="*/ 1795395 h 1801333"/>
              <a:gd name="connsiteX4" fmla="*/ 0 w 2002449"/>
              <a:gd name="connsiteY4" fmla="*/ 1801333 h 180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449" h="1801333">
                <a:moveTo>
                  <a:pt x="0" y="1801333"/>
                </a:moveTo>
                <a:cubicBezTo>
                  <a:pt x="2035" y="1683829"/>
                  <a:pt x="6532" y="634227"/>
                  <a:pt x="4527" y="1496"/>
                </a:cubicBezTo>
                <a:lnTo>
                  <a:pt x="1439960" y="0"/>
                </a:lnTo>
                <a:lnTo>
                  <a:pt x="2002449" y="1795395"/>
                </a:lnTo>
                <a:lnTo>
                  <a:pt x="0" y="1801333"/>
                </a:lnTo>
                <a:close/>
              </a:path>
            </a:pathLst>
          </a:custGeom>
          <a:gradFill flip="none" rotWithShape="0">
            <a:gsLst>
              <a:gs pos="100000">
                <a:schemeClr val="bg1">
                  <a:alpha val="16000"/>
                </a:schemeClr>
              </a:gs>
              <a:gs pos="38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dirty="0"/>
              <a:t>Titelmasterformat durch Klicken bearbeiten</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403385478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tandard_1 Text Container_3 Pictures horizontal">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a:xfrm>
            <a:off x="5752647" y="3306164"/>
            <a:ext cx="1689100" cy="1281810"/>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1" name="Bildplatzhalter 9"/>
          <p:cNvSpPr>
            <a:spLocks noGrp="1"/>
          </p:cNvSpPr>
          <p:nvPr>
            <p:ph type="pic" sz="quarter" idx="14"/>
          </p:nvPr>
        </p:nvSpPr>
        <p:spPr>
          <a:xfrm>
            <a:off x="3705705" y="3306164"/>
            <a:ext cx="1689100" cy="1281810"/>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2" name="Bildplatzhalter 9"/>
          <p:cNvSpPr>
            <a:spLocks noGrp="1"/>
          </p:cNvSpPr>
          <p:nvPr>
            <p:ph type="pic" sz="quarter" idx="15"/>
          </p:nvPr>
        </p:nvSpPr>
        <p:spPr>
          <a:xfrm>
            <a:off x="1658764" y="3306164"/>
            <a:ext cx="1689100" cy="1281810"/>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6"/>
          </p:nvPr>
        </p:nvSpPr>
        <p:spPr>
          <a:xfrm>
            <a:off x="1404000" y="1562401"/>
            <a:ext cx="7488000" cy="1513406"/>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37613638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tandard_1 Text Container_5 Pictures horizontal">
    <p:spTree>
      <p:nvGrpSpPr>
        <p:cNvPr id="1" name=""/>
        <p:cNvGrpSpPr/>
        <p:nvPr/>
      </p:nvGrpSpPr>
      <p:grpSpPr>
        <a:xfrm>
          <a:off x="0" y="0"/>
          <a:ext cx="0" cy="0"/>
          <a:chOff x="0" y="0"/>
          <a:chExt cx="0" cy="0"/>
        </a:xfrm>
      </p:grpSpPr>
      <p:sp>
        <p:nvSpPr>
          <p:cNvPr id="11" name="Bildplatzhalter 9"/>
          <p:cNvSpPr>
            <a:spLocks noGrp="1"/>
          </p:cNvSpPr>
          <p:nvPr>
            <p:ph type="pic" sz="quarter" idx="14"/>
          </p:nvPr>
        </p:nvSpPr>
        <p:spPr>
          <a:xfrm>
            <a:off x="3844374"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5" name="Bildplatzhalter 9"/>
          <p:cNvSpPr>
            <a:spLocks noGrp="1"/>
          </p:cNvSpPr>
          <p:nvPr>
            <p:ph type="pic" sz="quarter" idx="15"/>
          </p:nvPr>
        </p:nvSpPr>
        <p:spPr>
          <a:xfrm>
            <a:off x="5604636"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6" name="Bildplatzhalter 9"/>
          <p:cNvSpPr>
            <a:spLocks noGrp="1"/>
          </p:cNvSpPr>
          <p:nvPr>
            <p:ph type="pic" sz="quarter" idx="16"/>
          </p:nvPr>
        </p:nvSpPr>
        <p:spPr>
          <a:xfrm>
            <a:off x="7364897"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7" name="Bildplatzhalter 9"/>
          <p:cNvSpPr>
            <a:spLocks noGrp="1"/>
          </p:cNvSpPr>
          <p:nvPr>
            <p:ph type="pic" sz="quarter" idx="17"/>
          </p:nvPr>
        </p:nvSpPr>
        <p:spPr>
          <a:xfrm>
            <a:off x="323850"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18" name="Bildplatzhalter 9"/>
          <p:cNvSpPr>
            <a:spLocks noGrp="1"/>
          </p:cNvSpPr>
          <p:nvPr>
            <p:ph type="pic" sz="quarter" idx="18"/>
          </p:nvPr>
        </p:nvSpPr>
        <p:spPr>
          <a:xfrm>
            <a:off x="2084112" y="3423894"/>
            <a:ext cx="1528278" cy="1159767"/>
          </a:xfrm>
          <a:solidFill>
            <a:srgbClr val="FFFFFF">
              <a:shade val="85000"/>
            </a:srgbClr>
          </a:solidFill>
          <a:ln>
            <a:noFill/>
          </a:ln>
          <a:effectLst>
            <a:reflection blurRad="12700" stA="38000" endPos="16000" dist="2540" dir="5400000" sy="-100000" algn="bl" rotWithShape="0"/>
          </a:effectLst>
        </p:spPr>
        <p:txBody>
          <a:bodyPr anchor="ctr"/>
          <a:lstStyle>
            <a:lvl1pPr algn="ctr">
              <a:defRPr/>
            </a:lvl1pPr>
          </a:lstStyle>
          <a:p>
            <a:endParaRPr lang="en-US"/>
          </a:p>
        </p:txBody>
      </p:sp>
      <p:sp>
        <p:nvSpPr>
          <p:cNvPr id="7" name="Textplatzhalter 6"/>
          <p:cNvSpPr>
            <a:spLocks noGrp="1"/>
          </p:cNvSpPr>
          <p:nvPr>
            <p:ph type="body" sz="quarter" idx="19"/>
          </p:nvPr>
        </p:nvSpPr>
        <p:spPr>
          <a:xfrm>
            <a:off x="1403999" y="1562400"/>
            <a:ext cx="7488000" cy="1512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9197255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_Grafik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Datumsplatzhalter 2"/>
          <p:cNvSpPr>
            <a:spLocks noGrp="1"/>
          </p:cNvSpPr>
          <p:nvPr>
            <p:ph type="dt" sz="half" idx="10"/>
          </p:nvPr>
        </p:nvSpPr>
        <p:spPr/>
        <p:txBody>
          <a:bodyPr/>
          <a:lstStyle/>
          <a:p>
            <a:fld id="{FD8C514D-F61E-4EA9-943B-55F8F1F39C2E}"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30" name="Textplatzhalter 6"/>
          <p:cNvSpPr>
            <a:spLocks noGrp="1"/>
          </p:cNvSpPr>
          <p:nvPr>
            <p:ph type="body" sz="quarter" idx="13"/>
          </p:nvPr>
        </p:nvSpPr>
        <p:spPr>
          <a:xfrm>
            <a:off x="4643438" y="1563687"/>
            <a:ext cx="4249736" cy="324008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04975818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abellenplatzhalter 6"/>
          <p:cNvSpPr>
            <a:spLocks noGrp="1"/>
          </p:cNvSpPr>
          <p:nvPr>
            <p:ph type="tbl" sz="quarter" idx="13"/>
          </p:nvPr>
        </p:nvSpPr>
        <p:spPr>
          <a:xfrm>
            <a:off x="1403350" y="1563688"/>
            <a:ext cx="7489825" cy="3240087"/>
          </a:xfrm>
        </p:spPr>
        <p:txBody>
          <a:bodyPr anchor="ctr"/>
          <a:lstStyle>
            <a:lvl1pPr algn="ctr">
              <a:defRPr/>
            </a:lvl1pPr>
          </a:lstStyle>
          <a:p>
            <a:endParaRPr lang="en-US" dirty="0"/>
          </a:p>
        </p:txBody>
      </p:sp>
    </p:spTree>
    <p:extLst>
      <p:ext uri="{BB962C8B-B14F-4D97-AF65-F5344CB8AC3E}">
        <p14:creationId xmlns:p14="http://schemas.microsoft.com/office/powerpoint/2010/main" val="396874481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ackground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14454598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ackground_Benefit_without net">
    <p:spTree>
      <p:nvGrpSpPr>
        <p:cNvPr id="1" name=""/>
        <p:cNvGrpSpPr/>
        <p:nvPr/>
      </p:nvGrpSpPr>
      <p:grpSpPr>
        <a:xfrm>
          <a:off x="0" y="0"/>
          <a:ext cx="0" cy="0"/>
          <a:chOff x="0" y="0"/>
          <a:chExt cx="0" cy="0"/>
        </a:xfrm>
      </p:grpSpPr>
      <p:sp>
        <p:nvSpPr>
          <p:cNvPr id="8" name="Rechteck 7"/>
          <p:cNvSpPr/>
          <p:nvPr userDrawn="1"/>
        </p:nvSpPr>
        <p:spPr bwMode="auto">
          <a:xfrm>
            <a:off x="0" y="0"/>
            <a:ext cx="9144000" cy="5143500"/>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olidFill>
                <a:prstClr val="white"/>
              </a:solidFill>
            </a:endParaRPr>
          </a:p>
        </p:txBody>
      </p:sp>
      <p:pic>
        <p:nvPicPr>
          <p:cNvPr id="9" name="Picture 3" descr="T:\ASM\16-2458-ASM PPT Company\Masterhintergründe\Master16.pn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1"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userDrawn="1">
            <p:ph type="title"/>
          </p:nvPr>
        </p:nvSpPr>
        <p:spPr/>
        <p:txBody>
          <a:bodyPr/>
          <a:lstStyle/>
          <a:p>
            <a:r>
              <a:rPr lang="de-DE" dirty="0"/>
              <a:t>Titelmasterformat durch Klicken bearbeiten</a:t>
            </a:r>
            <a:endParaRPr lang="en-US" dirty="0"/>
          </a:p>
        </p:txBody>
      </p:sp>
      <p:sp>
        <p:nvSpPr>
          <p:cNvPr id="3" name="Datumsplatzhalter 2"/>
          <p:cNvSpPr>
            <a:spLocks noGrp="1"/>
          </p:cNvSpPr>
          <p:nvPr userDrawn="1">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userDrawn="1">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userDrawn="1">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6" name="Textplatzhalter 7"/>
          <p:cNvSpPr>
            <a:spLocks noGrp="1"/>
          </p:cNvSpPr>
          <p:nvPr userDrawn="1">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12"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Tree>
    <p:extLst>
      <p:ext uri="{BB962C8B-B14F-4D97-AF65-F5344CB8AC3E}">
        <p14:creationId xmlns:p14="http://schemas.microsoft.com/office/powerpoint/2010/main" val="377340562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aser_1 Text Container_Benefits">
    <p:spTree>
      <p:nvGrpSpPr>
        <p:cNvPr id="1" name=""/>
        <p:cNvGrpSpPr/>
        <p:nvPr/>
      </p:nvGrpSpPr>
      <p:grpSpPr>
        <a:xfrm>
          <a:off x="0" y="0"/>
          <a:ext cx="0" cy="0"/>
          <a:chOff x="0" y="0"/>
          <a:chExt cx="0" cy="0"/>
        </a:xfrm>
      </p:grpSpPr>
      <p:sp>
        <p:nvSpPr>
          <p:cNvPr id="6" name="Rechteck 5"/>
          <p:cNvSpPr/>
          <p:nvPr userDrawn="1"/>
        </p:nvSpPr>
        <p:spPr>
          <a:xfrm>
            <a:off x="0" y="216900"/>
            <a:ext cx="9144000" cy="170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hteck 6"/>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256FFC-87C3-434C-B174-C251D483D1A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3" name="Textplatzhalter 12"/>
          <p:cNvSpPr>
            <a:spLocks noGrp="1"/>
          </p:cNvSpPr>
          <p:nvPr>
            <p:ph type="body" sz="quarter" idx="13"/>
          </p:nvPr>
        </p:nvSpPr>
        <p:spPr>
          <a:xfrm>
            <a:off x="1403349" y="1563687"/>
            <a:ext cx="7489825" cy="324008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7" name="Gruppieren 16"/>
          <p:cNvGrpSpPr/>
          <p:nvPr userDrawn="1"/>
        </p:nvGrpSpPr>
        <p:grpSpPr>
          <a:xfrm>
            <a:off x="0" y="0"/>
            <a:ext cx="9144000" cy="5143500"/>
            <a:chOff x="0" y="0"/>
            <a:chExt cx="9144000" cy="5143500"/>
          </a:xfrm>
        </p:grpSpPr>
        <p:grpSp>
          <p:nvGrpSpPr>
            <p:cNvPr id="18" name="Gruppieren 17"/>
            <p:cNvGrpSpPr/>
            <p:nvPr userDrawn="1"/>
          </p:nvGrpSpPr>
          <p:grpSpPr>
            <a:xfrm>
              <a:off x="0" y="0"/>
              <a:ext cx="9144000" cy="5143500"/>
              <a:chOff x="0" y="0"/>
              <a:chExt cx="9144000" cy="5143500"/>
            </a:xfrm>
          </p:grpSpPr>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3" name="Rechteck 22"/>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olidFill>
                    <a:prstClr val="white"/>
                  </a:solidFill>
                </a:endParaRPr>
              </a:p>
            </p:txBody>
          </p:sp>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grpSp>
    </p:spTree>
    <p:extLst>
      <p:ext uri="{BB962C8B-B14F-4D97-AF65-F5344CB8AC3E}">
        <p14:creationId xmlns:p14="http://schemas.microsoft.com/office/powerpoint/2010/main" val="82899141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aser_Triangle  Picture_1 Text Container_Benefit_Red">
    <p:spTree>
      <p:nvGrpSpPr>
        <p:cNvPr id="1" name=""/>
        <p:cNvGrpSpPr/>
        <p:nvPr/>
      </p:nvGrpSpPr>
      <p:grpSpPr>
        <a:xfrm>
          <a:off x="0" y="0"/>
          <a:ext cx="0" cy="0"/>
          <a:chOff x="0" y="0"/>
          <a:chExt cx="0" cy="0"/>
        </a:xfrm>
      </p:grpSpPr>
      <p:sp>
        <p:nvSpPr>
          <p:cNvPr id="16" name="Rechteck 15"/>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Bildplatzhalter 7"/>
          <p:cNvSpPr>
            <a:spLocks noGrp="1"/>
          </p:cNvSpPr>
          <p:nvPr>
            <p:ph type="pic" sz="quarter" idx="14"/>
          </p:nvPr>
        </p:nvSpPr>
        <p:spPr>
          <a:xfrm>
            <a:off x="-3711" y="432000"/>
            <a:ext cx="2341174" cy="4712400"/>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174" h="4716161">
                <a:moveTo>
                  <a:pt x="1177" y="4716161"/>
                </a:moveTo>
                <a:cubicBezTo>
                  <a:pt x="-3734" y="3141290"/>
                  <a:pt x="8622" y="1574871"/>
                  <a:pt x="3711" y="0"/>
                </a:cubicBezTo>
                <a:lnTo>
                  <a:pt x="1437356" y="131"/>
                </a:lnTo>
                <a:lnTo>
                  <a:pt x="2341174" y="2824274"/>
                </a:lnTo>
                <a:lnTo>
                  <a:pt x="1396541" y="4713067"/>
                </a:lnTo>
                <a:lnTo>
                  <a:pt x="1177" y="4716161"/>
                </a:lnTo>
                <a:close/>
              </a:path>
            </a:pathLst>
          </a:custGeom>
        </p:spPr>
        <p:txBody>
          <a:bodyPr anchor="ctr"/>
          <a:lstStyle>
            <a:lvl1pPr algn="ctr">
              <a:defRPr/>
            </a:lvl1pPr>
          </a:lstStyle>
          <a:p>
            <a:endParaRPr lang="en-US"/>
          </a:p>
        </p:txBody>
      </p:sp>
      <p:sp>
        <p:nvSpPr>
          <p:cNvPr id="3" name="Datumsplatzhalter 2"/>
          <p:cNvSpPr>
            <a:spLocks noGrp="1"/>
          </p:cNvSpPr>
          <p:nvPr>
            <p:ph type="dt" sz="half" idx="10"/>
          </p:nvPr>
        </p:nvSpPr>
        <p:spPr/>
        <p:txBody>
          <a:bodyPr/>
          <a:lstStyle/>
          <a:p>
            <a:fld id="{2099C74F-881F-48BA-9300-FD43FD81899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04000" y="2066400"/>
            <a:ext cx="5688000" cy="2736000"/>
          </a:xfrm>
        </p:spPr>
        <p:txBody>
          <a:bodyPr>
            <a:normAutofit/>
          </a:bodyPr>
          <a:lstStyle>
            <a:lvl1pPr>
              <a:defRPr sz="1600">
                <a:solidFill>
                  <a:schemeClr val="bg1"/>
                </a:solidFill>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rapezoid 8"/>
          <p:cNvSpPr/>
          <p:nvPr userDrawn="1"/>
        </p:nvSpPr>
        <p:spPr>
          <a:xfrm>
            <a:off x="-4136" y="431999"/>
            <a:ext cx="2010432" cy="1801333"/>
          </a:xfrm>
          <a:custGeom>
            <a:avLst/>
            <a:gdLst>
              <a:gd name="connsiteX0" fmla="*/ 0 w 1475656"/>
              <a:gd name="connsiteY0" fmla="*/ 1080120 h 1080120"/>
              <a:gd name="connsiteX1" fmla="*/ 270030 w 1475656"/>
              <a:gd name="connsiteY1" fmla="*/ 0 h 1080120"/>
              <a:gd name="connsiteX2" fmla="*/ 1205626 w 1475656"/>
              <a:gd name="connsiteY2" fmla="*/ 0 h 1080120"/>
              <a:gd name="connsiteX3" fmla="*/ 1475656 w 1475656"/>
              <a:gd name="connsiteY3" fmla="*/ 1080120 h 1080120"/>
              <a:gd name="connsiteX4" fmla="*/ 0 w 1475656"/>
              <a:gd name="connsiteY4" fmla="*/ 1080120 h 1080120"/>
              <a:gd name="connsiteX0" fmla="*/ 0 w 1475656"/>
              <a:gd name="connsiteY0" fmla="*/ 1102559 h 1102559"/>
              <a:gd name="connsiteX1" fmla="*/ 758 w 1475656"/>
              <a:gd name="connsiteY1" fmla="*/ 0 h 1102559"/>
              <a:gd name="connsiteX2" fmla="*/ 1205626 w 1475656"/>
              <a:gd name="connsiteY2" fmla="*/ 22439 h 1102559"/>
              <a:gd name="connsiteX3" fmla="*/ 1475656 w 1475656"/>
              <a:gd name="connsiteY3" fmla="*/ 1102559 h 1102559"/>
              <a:gd name="connsiteX4" fmla="*/ 0 w 1475656"/>
              <a:gd name="connsiteY4" fmla="*/ 1102559 h 1102559"/>
              <a:gd name="connsiteX0" fmla="*/ 0 w 1761756"/>
              <a:gd name="connsiteY0" fmla="*/ 1102559 h 1164267"/>
              <a:gd name="connsiteX1" fmla="*/ 758 w 1761756"/>
              <a:gd name="connsiteY1" fmla="*/ 0 h 1164267"/>
              <a:gd name="connsiteX2" fmla="*/ 1205626 w 1761756"/>
              <a:gd name="connsiteY2" fmla="*/ 22439 h 1164267"/>
              <a:gd name="connsiteX3" fmla="*/ 1761756 w 1761756"/>
              <a:gd name="connsiteY3" fmla="*/ 1164267 h 1164267"/>
              <a:gd name="connsiteX4" fmla="*/ 0 w 1761756"/>
              <a:gd name="connsiteY4" fmla="*/ 1102559 h 1164267"/>
              <a:gd name="connsiteX0" fmla="*/ 0 w 1761756"/>
              <a:gd name="connsiteY0" fmla="*/ 1124999 h 1186707"/>
              <a:gd name="connsiteX1" fmla="*/ 758 w 1761756"/>
              <a:gd name="connsiteY1" fmla="*/ 22440 h 1186707"/>
              <a:gd name="connsiteX2" fmla="*/ 1379531 w 1761756"/>
              <a:gd name="connsiteY2" fmla="*/ 0 h 1186707"/>
              <a:gd name="connsiteX3" fmla="*/ 1761756 w 1761756"/>
              <a:gd name="connsiteY3" fmla="*/ 1186707 h 1186707"/>
              <a:gd name="connsiteX4" fmla="*/ 0 w 1761756"/>
              <a:gd name="connsiteY4" fmla="*/ 1124999 h 1186707"/>
              <a:gd name="connsiteX0" fmla="*/ 0 w 1767366"/>
              <a:gd name="connsiteY0" fmla="*/ 1338172 h 1338172"/>
              <a:gd name="connsiteX1" fmla="*/ 6368 w 1767366"/>
              <a:gd name="connsiteY1" fmla="*/ 22440 h 1338172"/>
              <a:gd name="connsiteX2" fmla="*/ 1385141 w 1767366"/>
              <a:gd name="connsiteY2" fmla="*/ 0 h 1338172"/>
              <a:gd name="connsiteX3" fmla="*/ 1767366 w 1767366"/>
              <a:gd name="connsiteY3" fmla="*/ 1186707 h 1338172"/>
              <a:gd name="connsiteX4" fmla="*/ 0 w 1767366"/>
              <a:gd name="connsiteY4" fmla="*/ 1338172 h 1338172"/>
              <a:gd name="connsiteX0" fmla="*/ 0 w 1801025"/>
              <a:gd name="connsiteY0" fmla="*/ 1338172 h 1338172"/>
              <a:gd name="connsiteX1" fmla="*/ 6368 w 1801025"/>
              <a:gd name="connsiteY1" fmla="*/ 22440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69743 w 1801025"/>
              <a:gd name="connsiteY1" fmla="*/ 117502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338172 h 1338172"/>
              <a:gd name="connsiteX1" fmla="*/ 38056 w 1801025"/>
              <a:gd name="connsiteY1" fmla="*/ 198984 h 1338172"/>
              <a:gd name="connsiteX2" fmla="*/ 1385141 w 1801025"/>
              <a:gd name="connsiteY2" fmla="*/ 0 h 1338172"/>
              <a:gd name="connsiteX3" fmla="*/ 1801025 w 1801025"/>
              <a:gd name="connsiteY3" fmla="*/ 1338172 h 1338172"/>
              <a:gd name="connsiteX4" fmla="*/ 0 w 1801025"/>
              <a:gd name="connsiteY4" fmla="*/ 1338172 h 1338172"/>
              <a:gd name="connsiteX0" fmla="*/ 0 w 1801025"/>
              <a:gd name="connsiteY0" fmla="*/ 1234057 h 1234057"/>
              <a:gd name="connsiteX1" fmla="*/ 38056 w 1801025"/>
              <a:gd name="connsiteY1" fmla="*/ 94869 h 1234057"/>
              <a:gd name="connsiteX2" fmla="*/ 1434935 w 1801025"/>
              <a:gd name="connsiteY2" fmla="*/ 0 h 1234057"/>
              <a:gd name="connsiteX3" fmla="*/ 1801025 w 1801025"/>
              <a:gd name="connsiteY3" fmla="*/ 1234057 h 1234057"/>
              <a:gd name="connsiteX4" fmla="*/ 0 w 1801025"/>
              <a:gd name="connsiteY4" fmla="*/ 1234057 h 1234057"/>
              <a:gd name="connsiteX0" fmla="*/ 0 w 1801025"/>
              <a:gd name="connsiteY0" fmla="*/ 1247634 h 1247634"/>
              <a:gd name="connsiteX1" fmla="*/ 38056 w 1801025"/>
              <a:gd name="connsiteY1" fmla="*/ 108446 h 1247634"/>
              <a:gd name="connsiteX2" fmla="*/ 4527 w 1801025"/>
              <a:gd name="connsiteY2" fmla="*/ 0 h 1247634"/>
              <a:gd name="connsiteX3" fmla="*/ 1434935 w 1801025"/>
              <a:gd name="connsiteY3" fmla="*/ 13577 h 1247634"/>
              <a:gd name="connsiteX4" fmla="*/ 1801025 w 1801025"/>
              <a:gd name="connsiteY4" fmla="*/ 1247634 h 1247634"/>
              <a:gd name="connsiteX5" fmla="*/ 0 w 1801025"/>
              <a:gd name="connsiteY5"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200531 w 2001556"/>
              <a:gd name="connsiteY0" fmla="*/ 1247634 h 1247634"/>
              <a:gd name="connsiteX1" fmla="*/ 205058 w 2001556"/>
              <a:gd name="connsiteY1" fmla="*/ 0 h 1247634"/>
              <a:gd name="connsiteX2" fmla="*/ 1635466 w 2001556"/>
              <a:gd name="connsiteY2" fmla="*/ 13577 h 1247634"/>
              <a:gd name="connsiteX3" fmla="*/ 2001556 w 2001556"/>
              <a:gd name="connsiteY3" fmla="*/ 1247634 h 1247634"/>
              <a:gd name="connsiteX4" fmla="*/ 200531 w 2001556"/>
              <a:gd name="connsiteY4" fmla="*/ 1247634 h 1247634"/>
              <a:gd name="connsiteX0" fmla="*/ 131473 w 1932498"/>
              <a:gd name="connsiteY0" fmla="*/ 1247634 h 1247634"/>
              <a:gd name="connsiteX1" fmla="*/ 136000 w 1932498"/>
              <a:gd name="connsiteY1" fmla="*/ 0 h 1247634"/>
              <a:gd name="connsiteX2" fmla="*/ 1566408 w 1932498"/>
              <a:gd name="connsiteY2" fmla="*/ 13577 h 1247634"/>
              <a:gd name="connsiteX3" fmla="*/ 1932498 w 1932498"/>
              <a:gd name="connsiteY3" fmla="*/ 1247634 h 1247634"/>
              <a:gd name="connsiteX4" fmla="*/ 131473 w 1932498"/>
              <a:gd name="connsiteY4" fmla="*/ 1247634 h 1247634"/>
              <a:gd name="connsiteX0" fmla="*/ 0 w 1801025"/>
              <a:gd name="connsiteY0" fmla="*/ 1247634 h 1247634"/>
              <a:gd name="connsiteX1" fmla="*/ 4527 w 1801025"/>
              <a:gd name="connsiteY1" fmla="*/ 0 h 1247634"/>
              <a:gd name="connsiteX2" fmla="*/ 1434935 w 1801025"/>
              <a:gd name="connsiteY2" fmla="*/ 13577 h 1247634"/>
              <a:gd name="connsiteX3" fmla="*/ 1801025 w 1801025"/>
              <a:gd name="connsiteY3" fmla="*/ 1247634 h 1247634"/>
              <a:gd name="connsiteX4" fmla="*/ 0 w 1801025"/>
              <a:gd name="connsiteY4" fmla="*/ 1247634 h 1247634"/>
              <a:gd name="connsiteX0" fmla="*/ 0 w 1801025"/>
              <a:gd name="connsiteY0" fmla="*/ 1249130 h 1249130"/>
              <a:gd name="connsiteX1" fmla="*/ 4527 w 1801025"/>
              <a:gd name="connsiteY1" fmla="*/ 1496 h 1249130"/>
              <a:gd name="connsiteX2" fmla="*/ 1424887 w 1801025"/>
              <a:gd name="connsiteY2" fmla="*/ 0 h 1249130"/>
              <a:gd name="connsiteX3" fmla="*/ 1801025 w 1801025"/>
              <a:gd name="connsiteY3" fmla="*/ 1249130 h 1249130"/>
              <a:gd name="connsiteX4" fmla="*/ 0 w 1801025"/>
              <a:gd name="connsiteY4" fmla="*/ 1249130 h 1249130"/>
              <a:gd name="connsiteX0" fmla="*/ 0 w 1836194"/>
              <a:gd name="connsiteY0" fmla="*/ 1249130 h 1249130"/>
              <a:gd name="connsiteX1" fmla="*/ 4527 w 1836194"/>
              <a:gd name="connsiteY1" fmla="*/ 1496 h 1249130"/>
              <a:gd name="connsiteX2" fmla="*/ 1424887 w 1836194"/>
              <a:gd name="connsiteY2" fmla="*/ 0 h 1249130"/>
              <a:gd name="connsiteX3" fmla="*/ 1836194 w 1836194"/>
              <a:gd name="connsiteY3" fmla="*/ 1249130 h 1249130"/>
              <a:gd name="connsiteX4" fmla="*/ 0 w 1836194"/>
              <a:gd name="connsiteY4" fmla="*/ 1249130 h 1249130"/>
              <a:gd name="connsiteX0" fmla="*/ 0 w 1836194"/>
              <a:gd name="connsiteY0" fmla="*/ 1249130 h 1249130"/>
              <a:gd name="connsiteX1" fmla="*/ 4527 w 1836194"/>
              <a:gd name="connsiteY1" fmla="*/ 1496 h 1249130"/>
              <a:gd name="connsiteX2" fmla="*/ 1439960 w 1836194"/>
              <a:gd name="connsiteY2" fmla="*/ 0 h 1249130"/>
              <a:gd name="connsiteX3" fmla="*/ 1836194 w 1836194"/>
              <a:gd name="connsiteY3" fmla="*/ 1249130 h 1249130"/>
              <a:gd name="connsiteX4" fmla="*/ 0 w 1836194"/>
              <a:gd name="connsiteY4" fmla="*/ 1249130 h 1249130"/>
              <a:gd name="connsiteX0" fmla="*/ 0 w 2002449"/>
              <a:gd name="connsiteY0" fmla="*/ 1249130 h 1795395"/>
              <a:gd name="connsiteX1" fmla="*/ 4527 w 2002449"/>
              <a:gd name="connsiteY1" fmla="*/ 1496 h 1795395"/>
              <a:gd name="connsiteX2" fmla="*/ 1439960 w 2002449"/>
              <a:gd name="connsiteY2" fmla="*/ 0 h 1795395"/>
              <a:gd name="connsiteX3" fmla="*/ 2002449 w 2002449"/>
              <a:gd name="connsiteY3" fmla="*/ 1795395 h 1795395"/>
              <a:gd name="connsiteX4" fmla="*/ 0 w 2002449"/>
              <a:gd name="connsiteY4" fmla="*/ 1249130 h 1795395"/>
              <a:gd name="connsiteX0" fmla="*/ 0 w 2002449"/>
              <a:gd name="connsiteY0" fmla="*/ 1801333 h 1801333"/>
              <a:gd name="connsiteX1" fmla="*/ 4527 w 2002449"/>
              <a:gd name="connsiteY1" fmla="*/ 1496 h 1801333"/>
              <a:gd name="connsiteX2" fmla="*/ 1439960 w 2002449"/>
              <a:gd name="connsiteY2" fmla="*/ 0 h 1801333"/>
              <a:gd name="connsiteX3" fmla="*/ 2002449 w 2002449"/>
              <a:gd name="connsiteY3" fmla="*/ 1795395 h 1801333"/>
              <a:gd name="connsiteX4" fmla="*/ 0 w 2002449"/>
              <a:gd name="connsiteY4" fmla="*/ 1801333 h 1801333"/>
              <a:gd name="connsiteX0" fmla="*/ 3748 w 2006197"/>
              <a:gd name="connsiteY0" fmla="*/ 1801333 h 1801333"/>
              <a:gd name="connsiteX1" fmla="*/ 0 w 2006197"/>
              <a:gd name="connsiteY1" fmla="*/ 1496 h 1801333"/>
              <a:gd name="connsiteX2" fmla="*/ 1443708 w 2006197"/>
              <a:gd name="connsiteY2" fmla="*/ 0 h 1801333"/>
              <a:gd name="connsiteX3" fmla="*/ 2006197 w 2006197"/>
              <a:gd name="connsiteY3" fmla="*/ 1795395 h 1801333"/>
              <a:gd name="connsiteX4" fmla="*/ 3748 w 2006197"/>
              <a:gd name="connsiteY4" fmla="*/ 1801333 h 1801333"/>
              <a:gd name="connsiteX0" fmla="*/ 0 w 2006587"/>
              <a:gd name="connsiteY0" fmla="*/ 1801333 h 1801333"/>
              <a:gd name="connsiteX1" fmla="*/ 390 w 2006587"/>
              <a:gd name="connsiteY1" fmla="*/ 1496 h 1801333"/>
              <a:gd name="connsiteX2" fmla="*/ 1444098 w 2006587"/>
              <a:gd name="connsiteY2" fmla="*/ 0 h 1801333"/>
              <a:gd name="connsiteX3" fmla="*/ 2006587 w 2006587"/>
              <a:gd name="connsiteY3" fmla="*/ 1795395 h 1801333"/>
              <a:gd name="connsiteX4" fmla="*/ 0 w 2006587"/>
              <a:gd name="connsiteY4" fmla="*/ 1801333 h 1801333"/>
              <a:gd name="connsiteX0" fmla="*/ 0 w 2014862"/>
              <a:gd name="connsiteY0" fmla="*/ 1801333 h 1801333"/>
              <a:gd name="connsiteX1" fmla="*/ 390 w 2014862"/>
              <a:gd name="connsiteY1" fmla="*/ 1496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1333 h 1801333"/>
              <a:gd name="connsiteX1" fmla="*/ 91397 w 2014862"/>
              <a:gd name="connsiteY1" fmla="*/ 101170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08504 h 1808504"/>
              <a:gd name="connsiteX1" fmla="*/ 390 w 2014862"/>
              <a:gd name="connsiteY1" fmla="*/ 0 h 1808504"/>
              <a:gd name="connsiteX2" fmla="*/ 1444098 w 2014862"/>
              <a:gd name="connsiteY2" fmla="*/ 7171 h 1808504"/>
              <a:gd name="connsiteX3" fmla="*/ 2014862 w 2014862"/>
              <a:gd name="connsiteY3" fmla="*/ 1802566 h 1808504"/>
              <a:gd name="connsiteX4" fmla="*/ 0 w 2014862"/>
              <a:gd name="connsiteY4" fmla="*/ 1808504 h 1808504"/>
              <a:gd name="connsiteX0" fmla="*/ 8278 w 2023140"/>
              <a:gd name="connsiteY0" fmla="*/ 1804170 h 1804170"/>
              <a:gd name="connsiteX1" fmla="*/ 0 w 2023140"/>
              <a:gd name="connsiteY1" fmla="*/ 0 h 1804170"/>
              <a:gd name="connsiteX2" fmla="*/ 1452376 w 2023140"/>
              <a:gd name="connsiteY2" fmla="*/ 2837 h 1804170"/>
              <a:gd name="connsiteX3" fmla="*/ 2023140 w 2023140"/>
              <a:gd name="connsiteY3" fmla="*/ 1798232 h 1804170"/>
              <a:gd name="connsiteX4" fmla="*/ 8278 w 2023140"/>
              <a:gd name="connsiteY4" fmla="*/ 1804170 h 1804170"/>
              <a:gd name="connsiteX0" fmla="*/ 3944 w 2018806"/>
              <a:gd name="connsiteY0" fmla="*/ 1804170 h 1804170"/>
              <a:gd name="connsiteX1" fmla="*/ 0 w 2018806"/>
              <a:gd name="connsiteY1" fmla="*/ 0 h 1804170"/>
              <a:gd name="connsiteX2" fmla="*/ 1448042 w 2018806"/>
              <a:gd name="connsiteY2" fmla="*/ 2837 h 1804170"/>
              <a:gd name="connsiteX3" fmla="*/ 2018806 w 2018806"/>
              <a:gd name="connsiteY3" fmla="*/ 1798232 h 1804170"/>
              <a:gd name="connsiteX4" fmla="*/ 3944 w 2018806"/>
              <a:gd name="connsiteY4" fmla="*/ 1804170 h 1804170"/>
              <a:gd name="connsiteX0" fmla="*/ 0 w 2014862"/>
              <a:gd name="connsiteY0" fmla="*/ 1804170 h 1804170"/>
              <a:gd name="connsiteX1" fmla="*/ 9057 w 2014862"/>
              <a:gd name="connsiteY1" fmla="*/ 0 h 1804170"/>
              <a:gd name="connsiteX2" fmla="*/ 1444098 w 2014862"/>
              <a:gd name="connsiteY2" fmla="*/ 2837 h 1804170"/>
              <a:gd name="connsiteX3" fmla="*/ 2014862 w 2014862"/>
              <a:gd name="connsiteY3" fmla="*/ 1798232 h 1804170"/>
              <a:gd name="connsiteX4" fmla="*/ 0 w 2014862"/>
              <a:gd name="connsiteY4" fmla="*/ 1804170 h 1804170"/>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4723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3944 w 2018806"/>
              <a:gd name="connsiteY0" fmla="*/ 1808503 h 1808503"/>
              <a:gd name="connsiteX1" fmla="*/ 0 w 2018806"/>
              <a:gd name="connsiteY1" fmla="*/ 0 h 1808503"/>
              <a:gd name="connsiteX2" fmla="*/ 1448042 w 2018806"/>
              <a:gd name="connsiteY2" fmla="*/ 7170 h 1808503"/>
              <a:gd name="connsiteX3" fmla="*/ 2018806 w 2018806"/>
              <a:gd name="connsiteY3" fmla="*/ 1802565 h 1808503"/>
              <a:gd name="connsiteX4" fmla="*/ 3944 w 2018806"/>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8503 h 1808503"/>
              <a:gd name="connsiteX1" fmla="*/ 389 w 2014862"/>
              <a:gd name="connsiteY1" fmla="*/ 0 h 1808503"/>
              <a:gd name="connsiteX2" fmla="*/ 1444098 w 2014862"/>
              <a:gd name="connsiteY2" fmla="*/ 7170 h 1808503"/>
              <a:gd name="connsiteX3" fmla="*/ 2014862 w 2014862"/>
              <a:gd name="connsiteY3" fmla="*/ 1802565 h 1808503"/>
              <a:gd name="connsiteX4" fmla="*/ 0 w 2014862"/>
              <a:gd name="connsiteY4" fmla="*/ 1808503 h 1808503"/>
              <a:gd name="connsiteX0" fmla="*/ 0 w 2014862"/>
              <a:gd name="connsiteY0" fmla="*/ 1801333 h 1801333"/>
              <a:gd name="connsiteX1" fmla="*/ 4723 w 2014862"/>
              <a:gd name="connsiteY1" fmla="*/ 5831 h 1801333"/>
              <a:gd name="connsiteX2" fmla="*/ 1444098 w 2014862"/>
              <a:gd name="connsiteY2" fmla="*/ 0 h 1801333"/>
              <a:gd name="connsiteX3" fmla="*/ 2014862 w 2014862"/>
              <a:gd name="connsiteY3" fmla="*/ 1795395 h 1801333"/>
              <a:gd name="connsiteX4" fmla="*/ 0 w 2014862"/>
              <a:gd name="connsiteY4" fmla="*/ 1801333 h 1801333"/>
              <a:gd name="connsiteX0" fmla="*/ 0 w 2014862"/>
              <a:gd name="connsiteY0" fmla="*/ 1812837 h 1812837"/>
              <a:gd name="connsiteX1" fmla="*/ 389 w 2014862"/>
              <a:gd name="connsiteY1" fmla="*/ 0 h 1812837"/>
              <a:gd name="connsiteX2" fmla="*/ 1444098 w 2014862"/>
              <a:gd name="connsiteY2" fmla="*/ 11504 h 1812837"/>
              <a:gd name="connsiteX3" fmla="*/ 2014862 w 2014862"/>
              <a:gd name="connsiteY3" fmla="*/ 1806899 h 1812837"/>
              <a:gd name="connsiteX4" fmla="*/ 0 w 2014862"/>
              <a:gd name="connsiteY4" fmla="*/ 1812837 h 1812837"/>
              <a:gd name="connsiteX0" fmla="*/ 0 w 2014862"/>
              <a:gd name="connsiteY0" fmla="*/ 1801333 h 1801333"/>
              <a:gd name="connsiteX1" fmla="*/ 4722 w 2014862"/>
              <a:gd name="connsiteY1" fmla="*/ 1497 h 1801333"/>
              <a:gd name="connsiteX2" fmla="*/ 1444098 w 2014862"/>
              <a:gd name="connsiteY2" fmla="*/ 0 h 1801333"/>
              <a:gd name="connsiteX3" fmla="*/ 2014862 w 2014862"/>
              <a:gd name="connsiteY3" fmla="*/ 1795395 h 1801333"/>
              <a:gd name="connsiteX4" fmla="*/ 0 w 2014862"/>
              <a:gd name="connsiteY4" fmla="*/ 1801333 h 1801333"/>
              <a:gd name="connsiteX0" fmla="*/ 0 w 1949857"/>
              <a:gd name="connsiteY0" fmla="*/ 1801333 h 1801333"/>
              <a:gd name="connsiteX1" fmla="*/ 4722 w 1949857"/>
              <a:gd name="connsiteY1" fmla="*/ 1497 h 1801333"/>
              <a:gd name="connsiteX2" fmla="*/ 1444098 w 1949857"/>
              <a:gd name="connsiteY2" fmla="*/ 0 h 1801333"/>
              <a:gd name="connsiteX3" fmla="*/ 1949857 w 1949857"/>
              <a:gd name="connsiteY3" fmla="*/ 1795395 h 1801333"/>
              <a:gd name="connsiteX4" fmla="*/ 0 w 1949857"/>
              <a:gd name="connsiteY4" fmla="*/ 1801333 h 1801333"/>
              <a:gd name="connsiteX0" fmla="*/ 0 w 2010432"/>
              <a:gd name="connsiteY0" fmla="*/ 1801333 h 1801333"/>
              <a:gd name="connsiteX1" fmla="*/ 4722 w 2010432"/>
              <a:gd name="connsiteY1" fmla="*/ 1497 h 1801333"/>
              <a:gd name="connsiteX2" fmla="*/ 1444098 w 2010432"/>
              <a:gd name="connsiteY2" fmla="*/ 0 h 1801333"/>
              <a:gd name="connsiteX3" fmla="*/ 2010432 w 2010432"/>
              <a:gd name="connsiteY3" fmla="*/ 1792510 h 1801333"/>
              <a:gd name="connsiteX4" fmla="*/ 0 w 2010432"/>
              <a:gd name="connsiteY4" fmla="*/ 1801333 h 180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0432" h="1801333">
                <a:moveTo>
                  <a:pt x="0" y="1801333"/>
                </a:moveTo>
                <a:cubicBezTo>
                  <a:pt x="2035" y="1683829"/>
                  <a:pt x="6727" y="634228"/>
                  <a:pt x="4722" y="1497"/>
                </a:cubicBezTo>
                <a:lnTo>
                  <a:pt x="1444098" y="0"/>
                </a:lnTo>
                <a:lnTo>
                  <a:pt x="2010432" y="1792510"/>
                </a:lnTo>
                <a:lnTo>
                  <a:pt x="0" y="1801333"/>
                </a:lnTo>
                <a:close/>
              </a:path>
            </a:pathLst>
          </a:custGeom>
          <a:gradFill flip="none" rotWithShape="0">
            <a:gsLst>
              <a:gs pos="94000">
                <a:schemeClr val="bg1">
                  <a:alpha val="0"/>
                </a:schemeClr>
              </a:gs>
              <a:gs pos="42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el 1"/>
          <p:cNvSpPr>
            <a:spLocks noGrp="1"/>
          </p:cNvSpPr>
          <p:nvPr>
            <p:ph type="title"/>
          </p:nvPr>
        </p:nvSpPr>
        <p:spPr/>
        <p:txBody>
          <a:bodyPr/>
          <a:lstStyle/>
          <a:p>
            <a:r>
              <a:rPr lang="de-DE" dirty="0"/>
              <a:t>Titelmasterformat durch Klicken bearbeiten</a:t>
            </a:r>
            <a:endParaRPr lang="en-US" dirty="0"/>
          </a:p>
        </p:txBody>
      </p:sp>
      <p:grpSp>
        <p:nvGrpSpPr>
          <p:cNvPr id="13" name="Gruppieren 12"/>
          <p:cNvGrpSpPr/>
          <p:nvPr userDrawn="1"/>
        </p:nvGrpSpPr>
        <p:grpSpPr>
          <a:xfrm>
            <a:off x="0" y="900"/>
            <a:ext cx="9144000" cy="432000"/>
            <a:chOff x="0" y="900"/>
            <a:chExt cx="9144000" cy="432000"/>
          </a:xfrm>
        </p:grpSpPr>
        <p:sp>
          <p:nvSpPr>
            <p:cNvPr id="14" name="Rechteck 1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uppieren 17"/>
          <p:cNvGrpSpPr/>
          <p:nvPr userDrawn="1"/>
        </p:nvGrpSpPr>
        <p:grpSpPr>
          <a:xfrm>
            <a:off x="2470150" y="4922730"/>
            <a:ext cx="6423024" cy="138036"/>
            <a:chOff x="2470150" y="4922730"/>
            <a:chExt cx="6423024" cy="138036"/>
          </a:xfrm>
        </p:grpSpPr>
        <p:sp>
          <p:nvSpPr>
            <p:cNvPr id="1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Tree>
    <p:extLst>
      <p:ext uri="{BB962C8B-B14F-4D97-AF65-F5344CB8AC3E}">
        <p14:creationId xmlns:p14="http://schemas.microsoft.com/office/powerpoint/2010/main" val="226612775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easer_Hero Shot_1 Text Container_Red">
    <p:spTree>
      <p:nvGrpSpPr>
        <p:cNvPr id="1" name=""/>
        <p:cNvGrpSpPr/>
        <p:nvPr/>
      </p:nvGrpSpPr>
      <p:grpSpPr>
        <a:xfrm>
          <a:off x="0" y="0"/>
          <a:ext cx="0" cy="0"/>
          <a:chOff x="0" y="0"/>
          <a:chExt cx="0" cy="0"/>
        </a:xfrm>
      </p:grpSpPr>
      <p:pic>
        <p:nvPicPr>
          <p:cNvPr id="28" name="Picture 3" descr="T:\ASM\16-2509-ASM PPT Master\Dreieck.jpg"/>
          <p:cNvPicPr>
            <a:picLocks noChangeAspect="1" noChangeArrowheads="1"/>
          </p:cNvPicPr>
          <p:nvPr userDrawn="1"/>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0" y="0"/>
            <a:ext cx="2341563" cy="5145088"/>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hteck 13"/>
          <p:cNvSpPr/>
          <p:nvPr userDrawn="1"/>
        </p:nvSpPr>
        <p:spPr>
          <a:xfrm>
            <a:off x="1401289" y="1368000"/>
            <a:ext cx="7742711" cy="3781438"/>
          </a:xfrm>
          <a:custGeom>
            <a:avLst/>
            <a:gdLst>
              <a:gd name="connsiteX0" fmla="*/ 0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0 w 9144000"/>
              <a:gd name="connsiteY4" fmla="*/ 0 h 3775500"/>
              <a:gd name="connsiteX0" fmla="*/ 2873829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2873829 w 9144000"/>
              <a:gd name="connsiteY4" fmla="*/ 0 h 3775500"/>
              <a:gd name="connsiteX0" fmla="*/ 1721922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1721922 w 9144000"/>
              <a:gd name="connsiteY4" fmla="*/ 0 h 3775500"/>
              <a:gd name="connsiteX0" fmla="*/ 1739735 w 9144000"/>
              <a:gd name="connsiteY0" fmla="*/ 0 h 3775500"/>
              <a:gd name="connsiteX1" fmla="*/ 9144000 w 9144000"/>
              <a:gd name="connsiteY1" fmla="*/ 0 h 3775500"/>
              <a:gd name="connsiteX2" fmla="*/ 9144000 w 9144000"/>
              <a:gd name="connsiteY2" fmla="*/ 3775500 h 3775500"/>
              <a:gd name="connsiteX3" fmla="*/ 0 w 9144000"/>
              <a:gd name="connsiteY3" fmla="*/ 3775500 h 3775500"/>
              <a:gd name="connsiteX4" fmla="*/ 1739735 w 9144000"/>
              <a:gd name="connsiteY4" fmla="*/ 0 h 3775500"/>
              <a:gd name="connsiteX0" fmla="*/ 0 w 7404265"/>
              <a:gd name="connsiteY0" fmla="*/ 0 h 3781438"/>
              <a:gd name="connsiteX1" fmla="*/ 7404265 w 7404265"/>
              <a:gd name="connsiteY1" fmla="*/ 0 h 3781438"/>
              <a:gd name="connsiteX2" fmla="*/ 7404265 w 7404265"/>
              <a:gd name="connsiteY2" fmla="*/ 3775500 h 3781438"/>
              <a:gd name="connsiteX3" fmla="*/ 712520 w 7404265"/>
              <a:gd name="connsiteY3" fmla="*/ 3781438 h 3781438"/>
              <a:gd name="connsiteX4" fmla="*/ 0 w 7404265"/>
              <a:gd name="connsiteY4"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338446 w 7742711"/>
              <a:gd name="connsiteY4"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184067 w 7742711"/>
              <a:gd name="connsiteY4" fmla="*/ 1689896 h 3781438"/>
              <a:gd name="connsiteX5" fmla="*/ 338446 w 7742711"/>
              <a:gd name="connsiteY5"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1027215 w 7742711"/>
              <a:gd name="connsiteY4" fmla="*/ 1891776 h 3781438"/>
              <a:gd name="connsiteX5" fmla="*/ 338446 w 7742711"/>
              <a:gd name="connsiteY5" fmla="*/ 0 h 3781438"/>
              <a:gd name="connsiteX0" fmla="*/ 338446 w 7742711"/>
              <a:gd name="connsiteY0" fmla="*/ 0 h 3781438"/>
              <a:gd name="connsiteX1" fmla="*/ 7742711 w 7742711"/>
              <a:gd name="connsiteY1" fmla="*/ 0 h 3781438"/>
              <a:gd name="connsiteX2" fmla="*/ 7742711 w 7742711"/>
              <a:gd name="connsiteY2" fmla="*/ 3775500 h 3781438"/>
              <a:gd name="connsiteX3" fmla="*/ 0 w 7742711"/>
              <a:gd name="connsiteY3" fmla="*/ 3781438 h 3781438"/>
              <a:gd name="connsiteX4" fmla="*/ 938150 w 7742711"/>
              <a:gd name="connsiteY4" fmla="*/ 1868026 h 3781438"/>
              <a:gd name="connsiteX5" fmla="*/ 338446 w 7742711"/>
              <a:gd name="connsiteY5" fmla="*/ 0 h 37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42711" h="3781438">
                <a:moveTo>
                  <a:pt x="338446" y="0"/>
                </a:moveTo>
                <a:lnTo>
                  <a:pt x="7742711" y="0"/>
                </a:lnTo>
                <a:lnTo>
                  <a:pt x="7742711" y="3775500"/>
                </a:lnTo>
                <a:lnTo>
                  <a:pt x="0" y="3781438"/>
                </a:lnTo>
                <a:lnTo>
                  <a:pt x="938150" y="1868026"/>
                </a:lnTo>
                <a:lnTo>
                  <a:pt x="338446"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Datumsplatzhalter 2"/>
          <p:cNvSpPr>
            <a:spLocks noGrp="1"/>
          </p:cNvSpPr>
          <p:nvPr>
            <p:ph type="dt" sz="half" idx="10"/>
          </p:nvPr>
        </p:nvSpPr>
        <p:spPr/>
        <p:txBody>
          <a:bodyPr/>
          <a:lstStyle/>
          <a:p>
            <a:fld id="{73256FFC-87C3-434C-B174-C251D483D1A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3" name="Textplatzhalter 12"/>
          <p:cNvSpPr>
            <a:spLocks noGrp="1"/>
          </p:cNvSpPr>
          <p:nvPr>
            <p:ph type="body" sz="quarter" idx="13"/>
          </p:nvPr>
        </p:nvSpPr>
        <p:spPr>
          <a:xfrm>
            <a:off x="3203848" y="2067694"/>
            <a:ext cx="5689326" cy="2736080"/>
          </a:xfrm>
        </p:spPr>
        <p:txBody>
          <a:bodyPr>
            <a:normAutofit/>
          </a:bodyPr>
          <a:lstStyle>
            <a:lvl1pPr>
              <a:defRPr lang="de-DE" sz="1600" b="1" kern="1200" dirty="0" smtClean="0">
                <a:solidFill>
                  <a:schemeClr val="bg1"/>
                </a:solidFill>
                <a:latin typeface="+mn-lt"/>
                <a:ea typeface="+mn-ea"/>
                <a:cs typeface="+mn-cs"/>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2" name="Titel 1"/>
          <p:cNvSpPr>
            <a:spLocks noGrp="1"/>
          </p:cNvSpPr>
          <p:nvPr>
            <p:ph type="title"/>
          </p:nvPr>
        </p:nvSpPr>
        <p:spPr/>
        <p:txBody>
          <a:bodyPr/>
          <a:lstStyle/>
          <a:p>
            <a:r>
              <a:rPr lang="de-DE" dirty="0"/>
              <a:t>Titelmasterformat durch Klicken bearbeiten</a:t>
            </a:r>
            <a:endParaRPr lang="en-US" dirty="0"/>
          </a:p>
        </p:txBody>
      </p:sp>
    </p:spTree>
    <p:extLst>
      <p:ext uri="{BB962C8B-B14F-4D97-AF65-F5344CB8AC3E}">
        <p14:creationId xmlns:p14="http://schemas.microsoft.com/office/powerpoint/2010/main" val="329835142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Hero Shot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3256FFC-87C3-434C-B174-C251D483D1A4}"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22" name="Gruppieren 21"/>
          <p:cNvGrpSpPr/>
          <p:nvPr userDrawn="1"/>
        </p:nvGrpSpPr>
        <p:grpSpPr>
          <a:xfrm>
            <a:off x="0" y="900"/>
            <a:ext cx="9144000" cy="432000"/>
            <a:chOff x="0" y="900"/>
            <a:chExt cx="9144000" cy="432000"/>
          </a:xfrm>
        </p:grpSpPr>
        <p:sp>
          <p:nvSpPr>
            <p:cNvPr id="24" name="Rechteck 23"/>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5"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1"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8" name="Textplatzhalter 7"/>
          <p:cNvSpPr>
            <a:spLocks noGrp="1"/>
          </p:cNvSpPr>
          <p:nvPr>
            <p:ph type="body" sz="quarter" idx="14"/>
          </p:nvPr>
        </p:nvSpPr>
        <p:spPr>
          <a:xfrm>
            <a:off x="3203575" y="2067694"/>
            <a:ext cx="5689600" cy="273630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52636131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 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03DD3B80-5252-4235-9B5D-3287684B330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8" name="Textplatzhalter 6"/>
          <p:cNvSpPr>
            <a:spLocks noGrp="1"/>
          </p:cNvSpPr>
          <p:nvPr>
            <p:ph type="body" sz="quarter" idx="14"/>
          </p:nvPr>
        </p:nvSpPr>
        <p:spPr>
          <a:xfrm>
            <a:off x="4681175" y="1562401"/>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9" name="Textplatzhalter 6"/>
          <p:cNvSpPr>
            <a:spLocks noGrp="1"/>
          </p:cNvSpPr>
          <p:nvPr>
            <p:ph type="body" sz="quarter" idx="15"/>
          </p:nvPr>
        </p:nvSpPr>
        <p:spPr>
          <a:xfrm>
            <a:off x="323528"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6"/>
          </p:nvPr>
        </p:nvSpPr>
        <p:spPr>
          <a:xfrm>
            <a:off x="4680854" y="2016000"/>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87298441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aser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marL="0" indent="0">
              <a:buClr>
                <a:schemeClr val="bg1"/>
              </a:buClr>
              <a:buFont typeface="Wingdings" panose="05000000000000000000" pitchFamily="2" charset="2"/>
              <a:buNone/>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a:p>
            <a:pPr lvl="0"/>
            <a:endParaRPr lang="de-DE" dirty="0"/>
          </a:p>
        </p:txBody>
      </p:sp>
    </p:spTree>
    <p:extLst>
      <p:ext uri="{BB962C8B-B14F-4D97-AF65-F5344CB8AC3E}">
        <p14:creationId xmlns:p14="http://schemas.microsoft.com/office/powerpoint/2010/main" val="291410290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aser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9" y="1563687"/>
            <a:ext cx="6408736" cy="295275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29655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
    <p:spTree>
      <p:nvGrpSpPr>
        <p:cNvPr id="1" name=""/>
        <p:cNvGrpSpPr/>
        <p:nvPr/>
      </p:nvGrpSpPr>
      <p:grpSpPr>
        <a:xfrm>
          <a:off x="0" y="0"/>
          <a:ext cx="0" cy="0"/>
          <a:chOff x="0" y="0"/>
          <a:chExt cx="0" cy="0"/>
        </a:xfrm>
      </p:grpSpPr>
      <p:sp>
        <p:nvSpPr>
          <p:cNvPr id="8" name="Rechteck 7"/>
          <p:cNvSpPr/>
          <p:nvPr userDrawn="1"/>
        </p:nvSpPr>
        <p:spPr>
          <a:xfrm>
            <a:off x="0" y="432001"/>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
        <p:nvSpPr>
          <p:cNvPr id="3" name="Datumsplatzhalter 2"/>
          <p:cNvSpPr>
            <a:spLocks noGrp="1"/>
          </p:cNvSpPr>
          <p:nvPr>
            <p:ph type="dt" sz="half" idx="10"/>
          </p:nvPr>
        </p:nvSpPr>
        <p:spPr/>
        <p:txBody>
          <a:bodyPr/>
          <a:lstStyle/>
          <a:p>
            <a:fld id="{BBFFFDA7-2DE8-4F39-AB3F-B81B5BD58731}"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8" y="1563689"/>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Tree>
    <p:extLst>
      <p:ext uri="{BB962C8B-B14F-4D97-AF65-F5344CB8AC3E}">
        <p14:creationId xmlns:p14="http://schemas.microsoft.com/office/powerpoint/2010/main" val="2951827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1773094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aser_2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2484438" y="156368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7"/>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5749427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aser_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F9ABF146-FE63-4C78-A7BB-61CB51E0477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8" name="Textplatzhalter 7"/>
          <p:cNvSpPr>
            <a:spLocks noGrp="1"/>
          </p:cNvSpPr>
          <p:nvPr>
            <p:ph type="body" sz="quarter" idx="16"/>
          </p:nvPr>
        </p:nvSpPr>
        <p:spPr>
          <a:xfrm>
            <a:off x="323850"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2603579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Globe_1_Benefit">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54" y="0"/>
            <a:ext cx="9141292"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24" name="Gruppieren 23"/>
          <p:cNvGrpSpPr/>
          <p:nvPr userDrawn="1"/>
        </p:nvGrpSpPr>
        <p:grpSpPr>
          <a:xfrm>
            <a:off x="0" y="900"/>
            <a:ext cx="9144000" cy="432000"/>
            <a:chOff x="0" y="900"/>
            <a:chExt cx="9144000" cy="432000"/>
          </a:xfrm>
        </p:grpSpPr>
        <p:sp>
          <p:nvSpPr>
            <p:cNvPr id="26" name="Rechteck 25"/>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 name="Rechteck 2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olidFill>
                <a:prstClr val="white"/>
              </a:solidFill>
            </a:endParaRPr>
          </a:p>
        </p:txBody>
      </p:sp>
      <p:grpSp>
        <p:nvGrpSpPr>
          <p:cNvPr id="21" name="Gruppieren 20"/>
          <p:cNvGrpSpPr/>
          <p:nvPr userDrawn="1"/>
        </p:nvGrpSpPr>
        <p:grpSpPr>
          <a:xfrm>
            <a:off x="2470150" y="4922730"/>
            <a:ext cx="6423024" cy="138036"/>
            <a:chOff x="2470150" y="4922730"/>
            <a:chExt cx="6423024" cy="138036"/>
          </a:xfrm>
        </p:grpSpPr>
        <p:sp>
          <p:nvSpPr>
            <p:cNvPr id="22"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23"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
        <p:nvSpPr>
          <p:cNvPr id="28" name="Textplatzhalter 7"/>
          <p:cNvSpPr>
            <a:spLocks noGrp="1"/>
          </p:cNvSpPr>
          <p:nvPr userDrawn="1">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09066056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reserve="1">
  <p:cSld name="Thank You">
    <p:spTree>
      <p:nvGrpSpPr>
        <p:cNvPr id="1" name=""/>
        <p:cNvGrpSpPr/>
        <p:nvPr/>
      </p:nvGrpSpPr>
      <p:grpSpPr>
        <a:xfrm>
          <a:off x="0" y="0"/>
          <a:ext cx="0" cy="0"/>
          <a:chOff x="0" y="0"/>
          <a:chExt cx="0" cy="0"/>
        </a:xfrm>
      </p:grpSpPr>
      <p:pic>
        <p:nvPicPr>
          <p:cNvPr id="8" name="Picture 4" descr="T:\ASM\16-2458-ASM PPT Company\Titel_0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accent2"/>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6" name="Grafik 5"/>
          <p:cNvPicPr>
            <a:picLocks noChangeAspect="1"/>
          </p:cNvPicPr>
          <p:nvPr userDrawn="1"/>
        </p:nvPicPr>
        <p:blipFill rotWithShape="1">
          <a:blip r:embed="rId3" cstate="print">
            <a:extLst>
              <a:ext uri="{28A0092B-C50C-407E-A947-70E740481C1C}">
                <a14:useLocalDpi xmlns:a14="http://schemas.microsoft.com/office/drawing/2010/main" val="0"/>
              </a:ext>
            </a:extLst>
          </a:blip>
          <a:srcRect b="-1"/>
          <a:stretch/>
        </p:blipFill>
        <p:spPr bwMode="auto">
          <a:xfrm>
            <a:off x="0" y="1"/>
            <a:ext cx="9143999" cy="352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6389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_1">
    <p:bg>
      <p:bgPr>
        <a:solidFill>
          <a:schemeClr val="bg2"/>
        </a:solidFill>
        <a:effectLst/>
      </p:bgPr>
    </p:bg>
    <p:spTree>
      <p:nvGrpSpPr>
        <p:cNvPr id="1" name=""/>
        <p:cNvGrpSpPr/>
        <p:nvPr/>
      </p:nvGrpSpPr>
      <p:grpSpPr>
        <a:xfrm>
          <a:off x="0" y="0"/>
          <a:ext cx="0" cy="0"/>
          <a:chOff x="0" y="0"/>
          <a:chExt cx="0" cy="0"/>
        </a:xfrm>
      </p:grpSpPr>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096339"/>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b"/>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3959278"/>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Rechteck 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2050"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83154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itle" preserve="1">
  <p:cSld name="Title_2">
    <p:bg>
      <p:bgPr>
        <a:solidFill>
          <a:schemeClr val="bg2"/>
        </a:solidFill>
        <a:effectLst/>
      </p:bgPr>
    </p:bg>
    <p:spTree>
      <p:nvGrpSpPr>
        <p:cNvPr id="1" name=""/>
        <p:cNvGrpSpPr/>
        <p:nvPr/>
      </p:nvGrpSpPr>
      <p:grpSpPr>
        <a:xfrm>
          <a:off x="0" y="0"/>
          <a:ext cx="0" cy="0"/>
          <a:chOff x="0" y="0"/>
          <a:chExt cx="0" cy="0"/>
        </a:xfrm>
      </p:grpSpPr>
      <p:pic>
        <p:nvPicPr>
          <p:cNvPr id="3074"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630029"/>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t" anchorCtr="0"/>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4751749"/>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 name="Rechteck 7"/>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9" name="Grafik 8"/>
          <p:cNvPicPr>
            <a:picLocks noChangeAspect="1"/>
          </p:cNvPicPr>
          <p:nvPr userDrawn="1"/>
        </p:nvPicPr>
        <p:blipFill rotWithShape="1">
          <a:blip r:embed="rId5" cstate="print">
            <a:extLst>
              <a:ext uri="{28A0092B-C50C-407E-A947-70E740481C1C}">
                <a14:useLocalDpi xmlns:a14="http://schemas.microsoft.com/office/drawing/2010/main" val="0"/>
              </a:ext>
            </a:extLst>
          </a:blip>
          <a:srcRect b="-1"/>
          <a:stretch/>
        </p:blipFill>
        <p:spPr bwMode="auto">
          <a:xfrm>
            <a:off x="9" y="811037"/>
            <a:ext cx="9143999" cy="264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73085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8196"/>
                                        </p:tgtEl>
                                        <p:attrNameLst>
                                          <p:attrName>style.visibility</p:attrName>
                                        </p:attrNameLst>
                                      </p:cBhvr>
                                      <p:to>
                                        <p:strVal val="visible"/>
                                      </p:to>
                                    </p:set>
                                    <p:anim calcmode="lin" valueType="num">
                                      <p:cBhvr additive="base">
                                        <p:cTn id="7" dur="1000" fill="hold"/>
                                        <p:tgtEl>
                                          <p:spTgt spid="8196"/>
                                        </p:tgtEl>
                                        <p:attrNameLst>
                                          <p:attrName>ppt_x</p:attrName>
                                        </p:attrNameLst>
                                      </p:cBhvr>
                                      <p:tavLst>
                                        <p:tav tm="0">
                                          <p:val>
                                            <p:strVal val="#ppt_x"/>
                                          </p:val>
                                        </p:tav>
                                        <p:tav tm="100000">
                                          <p:val>
                                            <p:strVal val="#ppt_x"/>
                                          </p:val>
                                        </p:tav>
                                      </p:tavLst>
                                    </p:anim>
                                    <p:anim calcmode="lin" valueType="num">
                                      <p:cBhvr additive="base">
                                        <p:cTn id="8" dur="1000" fill="hold"/>
                                        <p:tgtEl>
                                          <p:spTgt spid="819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197">
                                            <p:txEl>
                                              <p:pRg st="0" end="0"/>
                                            </p:txEl>
                                          </p:spTgt>
                                        </p:tgtEl>
                                        <p:attrNameLst>
                                          <p:attrName>style.visibility</p:attrName>
                                        </p:attrNameLst>
                                      </p:cBhvr>
                                      <p:to>
                                        <p:strVal val="visible"/>
                                      </p:to>
                                    </p:set>
                                    <p:anim calcmode="lin" valueType="num">
                                      <p:cBhvr additive="base">
                                        <p:cTn id="11" dur="1000" fill="hold"/>
                                        <p:tgtEl>
                                          <p:spTgt spid="8197">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819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6" grpId="0"/>
      <p:bldP spid="8197" grpId="0" build="p">
        <p:tmplLst>
          <p:tmpl lvl="1">
            <p:tnLst>
              <p:par>
                <p:cTn presetID="2" presetClass="entr" presetSubtype="4" fill="hold" nodeType="withEffect">
                  <p:stCondLst>
                    <p:cond delay="0"/>
                  </p:stCondLst>
                  <p:childTnLst>
                    <p:set>
                      <p:cBhvr>
                        <p:cTn dur="1" fill="hold">
                          <p:stCondLst>
                            <p:cond delay="0"/>
                          </p:stCondLst>
                        </p:cTn>
                        <p:tgtEl>
                          <p:spTgt spid="8197"/>
                        </p:tgtEl>
                        <p:attrNameLst>
                          <p:attrName>style.visibility</p:attrName>
                        </p:attrNameLst>
                      </p:cBhvr>
                      <p:to>
                        <p:strVal val="visible"/>
                      </p:to>
                    </p:set>
                    <p:anim calcmode="lin" valueType="num">
                      <p:cBhvr additive="base">
                        <p:cTn dur="1000" fill="hold"/>
                        <p:tgtEl>
                          <p:spTgt spid="8197"/>
                        </p:tgtEl>
                        <p:attrNameLst>
                          <p:attrName>ppt_x</p:attrName>
                        </p:attrNameLst>
                      </p:cBhvr>
                      <p:tavLst>
                        <p:tav tm="0">
                          <p:val>
                            <p:strVal val="#ppt_x"/>
                          </p:val>
                        </p:tav>
                        <p:tav tm="100000">
                          <p:val>
                            <p:strVal val="#ppt_x"/>
                          </p:val>
                        </p:tav>
                      </p:tavLst>
                    </p:anim>
                    <p:anim calcmode="lin" valueType="num">
                      <p:cBhvr additive="base">
                        <p:cTn dur="1000" fill="hold"/>
                        <p:tgtEl>
                          <p:spTgt spid="8197"/>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098" name="Picture 2" descr="T:\ASM\16-2458-ASM PPT Company\Masterhintergründe\master4zu3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4"/>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7" name="Textplatzhalter 6"/>
          <p:cNvSpPr>
            <a:spLocks noGrp="1"/>
          </p:cNvSpPr>
          <p:nvPr userDrawn="1">
            <p:ph type="body" sz="quarter" idx="13"/>
          </p:nvPr>
        </p:nvSpPr>
        <p:spPr>
          <a:xfrm>
            <a:off x="2470150" y="2336946"/>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19" name="Textplatzhalter 6"/>
          <p:cNvSpPr>
            <a:spLocks noGrp="1"/>
          </p:cNvSpPr>
          <p:nvPr userDrawn="1">
            <p:ph type="body" sz="quarter" idx="14"/>
          </p:nvPr>
        </p:nvSpPr>
        <p:spPr>
          <a:xfrm>
            <a:off x="2470150" y="2696917"/>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0" name="Textplatzhalter 6"/>
          <p:cNvSpPr>
            <a:spLocks noGrp="1"/>
          </p:cNvSpPr>
          <p:nvPr userDrawn="1">
            <p:ph type="body" sz="quarter" idx="15"/>
          </p:nvPr>
        </p:nvSpPr>
        <p:spPr>
          <a:xfrm>
            <a:off x="2470150" y="3056888"/>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1" name="Textplatzhalter 6"/>
          <p:cNvSpPr>
            <a:spLocks noGrp="1"/>
          </p:cNvSpPr>
          <p:nvPr userDrawn="1">
            <p:ph type="body" sz="quarter" idx="16"/>
          </p:nvPr>
        </p:nvSpPr>
        <p:spPr>
          <a:xfrm>
            <a:off x="2470150" y="3416859"/>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2" name="Textplatzhalter 6"/>
          <p:cNvSpPr>
            <a:spLocks noGrp="1"/>
          </p:cNvSpPr>
          <p:nvPr userDrawn="1">
            <p:ph type="body" sz="quarter" idx="17"/>
          </p:nvPr>
        </p:nvSpPr>
        <p:spPr>
          <a:xfrm>
            <a:off x="2470150" y="377683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3" name="Textplatzhalter 6"/>
          <p:cNvSpPr>
            <a:spLocks noGrp="1"/>
          </p:cNvSpPr>
          <p:nvPr userDrawn="1">
            <p:ph type="body" sz="quarter" idx="18"/>
          </p:nvPr>
        </p:nvSpPr>
        <p:spPr>
          <a:xfrm>
            <a:off x="2470150" y="4136801"/>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4" name="Textplatzhalter 6"/>
          <p:cNvSpPr>
            <a:spLocks noGrp="1"/>
          </p:cNvSpPr>
          <p:nvPr userDrawn="1">
            <p:ph type="body" sz="quarter" idx="19"/>
          </p:nvPr>
        </p:nvSpPr>
        <p:spPr>
          <a:xfrm>
            <a:off x="2470150" y="449677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5" name="Textplatzhalter 6"/>
          <p:cNvSpPr>
            <a:spLocks noGrp="1"/>
          </p:cNvSpPr>
          <p:nvPr userDrawn="1">
            <p:ph type="body" sz="quarter" idx="20"/>
          </p:nvPr>
        </p:nvSpPr>
        <p:spPr>
          <a:xfrm>
            <a:off x="2470150" y="1976975"/>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6" name="Textplatzhalter 6"/>
          <p:cNvSpPr>
            <a:spLocks noGrp="1"/>
          </p:cNvSpPr>
          <p:nvPr userDrawn="1">
            <p:ph type="body" sz="quarter" idx="21"/>
          </p:nvPr>
        </p:nvSpPr>
        <p:spPr>
          <a:xfrm>
            <a:off x="2470150" y="1617004"/>
            <a:ext cx="4320000" cy="288000"/>
          </a:xfrm>
          <a:noFill/>
        </p:spPr>
        <p:txBody>
          <a:bodyPr lIns="0" anchor="ctr" anchorCtr="0"/>
          <a:lstStyle>
            <a:lvl1pPr>
              <a:defRPr b="1">
                <a:solidFill>
                  <a:schemeClr val="tx1"/>
                </a:solidFill>
              </a:defRPr>
            </a:lvl1pPr>
          </a:lstStyle>
          <a:p>
            <a:pPr lvl="0"/>
            <a:r>
              <a:rPr lang="en-US" dirty="0" err="1"/>
              <a:t>Textmasterformat</a:t>
            </a:r>
            <a:r>
              <a:rPr lang="en-US" dirty="0"/>
              <a:t> </a:t>
            </a:r>
            <a:r>
              <a:rPr lang="en-US" dirty="0" err="1"/>
              <a:t>bearbeiten</a:t>
            </a:r>
            <a:endParaRPr lang="en-US" dirty="0"/>
          </a:p>
        </p:txBody>
      </p:sp>
      <p:pic>
        <p:nvPicPr>
          <p:cNvPr id="7170" name="Picture 2" descr="T:\ASM\16-2458-ASM PPT Company\number 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771" y="4480016"/>
            <a:ext cx="555940" cy="374091"/>
          </a:xfrm>
          <a:prstGeom prst="rect">
            <a:avLst/>
          </a:prstGeom>
          <a:noFill/>
          <a:extLst>
            <a:ext uri="{909E8E84-426E-40DD-AFC4-6F175D3DCCD1}">
              <a14:hiddenFill xmlns:a14="http://schemas.microsoft.com/office/drawing/2010/main">
                <a:solidFill>
                  <a:srgbClr val="FFFFFF"/>
                </a:solidFill>
              </a14:hiddenFill>
            </a:ext>
          </a:extLst>
        </p:spPr>
      </p:pic>
      <p:sp>
        <p:nvSpPr>
          <p:cNvPr id="29" name="Rechteck 28"/>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30" name="Gruppieren 29"/>
          <p:cNvGrpSpPr/>
          <p:nvPr userDrawn="1"/>
        </p:nvGrpSpPr>
        <p:grpSpPr>
          <a:xfrm>
            <a:off x="0" y="900"/>
            <a:ext cx="9144000" cy="324000"/>
            <a:chOff x="0" y="1200"/>
            <a:chExt cx="9144000" cy="432000"/>
          </a:xfrm>
        </p:grpSpPr>
        <p:sp>
          <p:nvSpPr>
            <p:cNvPr id="31" name="Rechteck 3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32"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Rechteck 26"/>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3561204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Head - Teas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20715722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4349" name="think-cell Folie" r:id="rId4" imgW="180" imgH="180" progId="TCLayout.ActiveDocument.1">
                  <p:embed/>
                </p:oleObj>
              </mc:Choice>
              <mc:Fallback>
                <p:oleObj name="think-cell Folie" r:id="rId4" imgW="180" imgH="180"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4" name="Foliennummernplatzhalter 3"/>
          <p:cNvSpPr>
            <a:spLocks noGrp="1"/>
          </p:cNvSpPr>
          <p:nvPr>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p:ph idx="1"/>
          </p:nvPr>
        </p:nvSpPr>
        <p:spPr>
          <a:xfrm>
            <a:off x="2470150" y="4608005"/>
            <a:ext cx="6423024"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9" name="Rechteck 8"/>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18605216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Hea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0"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8" name="Rechteck 7"/>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17979497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_Triangle Picture_1 Text Container_Benefit">
    <p:spTree>
      <p:nvGrpSpPr>
        <p:cNvPr id="1" name=""/>
        <p:cNvGrpSpPr/>
        <p:nvPr/>
      </p:nvGrpSpPr>
      <p:grpSpPr>
        <a:xfrm>
          <a:off x="0" y="0"/>
          <a:ext cx="0" cy="0"/>
          <a:chOff x="0" y="0"/>
          <a:chExt cx="0" cy="0"/>
        </a:xfrm>
      </p:grpSpPr>
      <p:sp>
        <p:nvSpPr>
          <p:cNvPr id="10" name="Rechteck 9"/>
          <p:cNvSpPr/>
          <p:nvPr userDrawn="1"/>
        </p:nvSpPr>
        <p:spPr>
          <a:xfrm>
            <a:off x="0" y="432001"/>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p:cNvSpPr>
            <a:spLocks noGrp="1"/>
          </p:cNvSpPr>
          <p:nvPr>
            <p:ph type="dt" sz="half" idx="10"/>
          </p:nvPr>
        </p:nvSpPr>
        <p:spPr/>
        <p:txBody>
          <a:bodyPr/>
          <a:lstStyle/>
          <a:p>
            <a:fld id="{3B94A1E8-4866-4170-B4D9-42204AEAF7F1}"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8" y="1563689"/>
            <a:ext cx="6408736" cy="295275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1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Tree>
    <p:extLst>
      <p:ext uri="{BB962C8B-B14F-4D97-AF65-F5344CB8AC3E}">
        <p14:creationId xmlns:p14="http://schemas.microsoft.com/office/powerpoint/2010/main" val="11284968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Head - Teaser - without net">
    <p:spTree>
      <p:nvGrpSpPr>
        <p:cNvPr id="1" name=""/>
        <p:cNvGrpSpPr/>
        <p:nvPr/>
      </p:nvGrpSpPr>
      <p:grpSpPr>
        <a:xfrm>
          <a:off x="0" y="0"/>
          <a:ext cx="0" cy="0"/>
          <a:chOff x="0" y="0"/>
          <a:chExt cx="0" cy="0"/>
        </a:xfrm>
      </p:grpSpPr>
      <p:sp>
        <p:nvSpPr>
          <p:cNvPr id="2" name="Rechteck 1"/>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4099"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userDrawn="1">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userDrawn="1">
            <p:ph idx="1"/>
          </p:nvPr>
        </p:nvSpPr>
        <p:spPr>
          <a:xfrm>
            <a:off x="2470159" y="4608005"/>
            <a:ext cx="6429637"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19" name="Gruppieren 18"/>
          <p:cNvGrpSpPr/>
          <p:nvPr userDrawn="1"/>
        </p:nvGrpSpPr>
        <p:grpSpPr>
          <a:xfrm>
            <a:off x="0" y="900"/>
            <a:ext cx="9144000" cy="324000"/>
            <a:chOff x="0" y="1200"/>
            <a:chExt cx="9144000" cy="432000"/>
          </a:xfrm>
        </p:grpSpPr>
        <p:sp>
          <p:nvSpPr>
            <p:cNvPr id="20" name="Rechteck 19"/>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1"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Rechteck 17"/>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30788296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Head - without net">
    <p:spTree>
      <p:nvGrpSpPr>
        <p:cNvPr id="1" name=""/>
        <p:cNvGrpSpPr/>
        <p:nvPr/>
      </p:nvGrpSpPr>
      <p:grpSpPr>
        <a:xfrm>
          <a:off x="0" y="0"/>
          <a:ext cx="0" cy="0"/>
          <a:chOff x="0" y="0"/>
          <a:chExt cx="0" cy="0"/>
        </a:xfrm>
      </p:grpSpPr>
      <p:grpSp>
        <p:nvGrpSpPr>
          <p:cNvPr id="12" name="Gruppieren 11"/>
          <p:cNvGrpSpPr/>
          <p:nvPr userDrawn="1"/>
        </p:nvGrpSpPr>
        <p:grpSpPr>
          <a:xfrm>
            <a:off x="0" y="0"/>
            <a:ext cx="9144000" cy="5145088"/>
            <a:chOff x="0" y="0"/>
            <a:chExt cx="9144000" cy="5145088"/>
          </a:xfrm>
        </p:grpSpPr>
        <p:sp>
          <p:nvSpPr>
            <p:cNvPr id="13" name="Rechteck 12"/>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16"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Foliennummernplatzhalter 3"/>
          <p:cNvSpPr>
            <a:spLocks noGrp="1"/>
          </p:cNvSpPr>
          <p:nvPr>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0"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1" name="Gruppieren 20"/>
          <p:cNvGrpSpPr/>
          <p:nvPr userDrawn="1"/>
        </p:nvGrpSpPr>
        <p:grpSpPr>
          <a:xfrm>
            <a:off x="0" y="900"/>
            <a:ext cx="9144000" cy="324000"/>
            <a:chOff x="0" y="1200"/>
            <a:chExt cx="9144000" cy="432000"/>
          </a:xfrm>
        </p:grpSpPr>
        <p:sp>
          <p:nvSpPr>
            <p:cNvPr id="22" name="Rechteck 2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3"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898972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Empty layout">
    <p:spTree>
      <p:nvGrpSpPr>
        <p:cNvPr id="1" name=""/>
        <p:cNvGrpSpPr/>
        <p:nvPr/>
      </p:nvGrpSpPr>
      <p:grpSpPr>
        <a:xfrm>
          <a:off x="0" y="0"/>
          <a:ext cx="0" cy="0"/>
          <a:chOff x="0" y="0"/>
          <a:chExt cx="0" cy="0"/>
        </a:xfrm>
      </p:grpSpPr>
      <p:sp>
        <p:nvSpPr>
          <p:cNvPr id="15" name="Rechteck 14"/>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6"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1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4" name="Foliennummernplatzhalter 3"/>
          <p:cNvSpPr>
            <a:spLocks noGrp="1"/>
          </p:cNvSpPr>
          <p:nvPr userDrawn="1">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7" name="Rechteck 1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90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0" name="Gruppieren 19"/>
          <p:cNvGrpSpPr/>
          <p:nvPr userDrawn="1"/>
        </p:nvGrpSpPr>
        <p:grpSpPr>
          <a:xfrm>
            <a:off x="0" y="900"/>
            <a:ext cx="9144000" cy="324000"/>
            <a:chOff x="0" y="1200"/>
            <a:chExt cx="9144000" cy="432000"/>
          </a:xfrm>
        </p:grpSpPr>
        <p:sp>
          <p:nvSpPr>
            <p:cNvPr id="21" name="Rechteck 2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2"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Titel 1"/>
          <p:cNvSpPr>
            <a:spLocks noGrp="1"/>
          </p:cNvSpPr>
          <p:nvPr>
            <p:ph type="title"/>
          </p:nvPr>
        </p:nvSpPr>
        <p:spPr>
          <a:xfrm>
            <a:off x="10"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val="27328884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_Triangle Picture_Benefit">
    <p:spTree>
      <p:nvGrpSpPr>
        <p:cNvPr id="1" name=""/>
        <p:cNvGrpSpPr/>
        <p:nvPr/>
      </p:nvGrpSpPr>
      <p:grpSpPr>
        <a:xfrm>
          <a:off x="0" y="0"/>
          <a:ext cx="0" cy="0"/>
          <a:chOff x="0" y="0"/>
          <a:chExt cx="0" cy="0"/>
        </a:xfrm>
      </p:grpSpPr>
      <p:sp>
        <p:nvSpPr>
          <p:cNvPr id="8" name="Rechteck 7"/>
          <p:cNvSpPr/>
          <p:nvPr userDrawn="1"/>
        </p:nvSpPr>
        <p:spPr>
          <a:xfrm>
            <a:off x="0" y="432001"/>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p:cNvSpPr>
            <a:spLocks noGrp="1"/>
          </p:cNvSpPr>
          <p:nvPr>
            <p:ph type="dt" sz="half" idx="10"/>
          </p:nvPr>
        </p:nvSpPr>
        <p:spPr/>
        <p:txBody>
          <a:bodyPr/>
          <a:lstStyle/>
          <a:p>
            <a:fld id="{3B94A1E8-4866-4170-B4D9-42204AEAF7F1}"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
        <p:nvSpPr>
          <p:cNvPr id="2" name="Titel 1"/>
          <p:cNvSpPr>
            <a:spLocks noGrp="1"/>
          </p:cNvSpPr>
          <p:nvPr>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1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Tree>
    <p:extLst>
      <p:ext uri="{BB962C8B-B14F-4D97-AF65-F5344CB8AC3E}">
        <p14:creationId xmlns:p14="http://schemas.microsoft.com/office/powerpoint/2010/main" val="25087089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DF4FE13-BC48-4064-AD86-F63DCED346EE}"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abellenplatzhalter 6"/>
          <p:cNvSpPr>
            <a:spLocks noGrp="1"/>
          </p:cNvSpPr>
          <p:nvPr>
            <p:ph type="tbl" sz="quarter" idx="13"/>
          </p:nvPr>
        </p:nvSpPr>
        <p:spPr>
          <a:xfrm>
            <a:off x="1403358" y="1563689"/>
            <a:ext cx="7489825" cy="3240087"/>
          </a:xfrm>
        </p:spPr>
        <p:txBody>
          <a:bodyPr anchor="ctr"/>
          <a:lstStyle>
            <a:lvl1pPr algn="ctr">
              <a:defRPr/>
            </a:lvl1pPr>
          </a:lstStyle>
          <a:p>
            <a:endParaRPr lang="en-US" dirty="0"/>
          </a:p>
        </p:txBody>
      </p:sp>
    </p:spTree>
    <p:extLst>
      <p:ext uri="{BB962C8B-B14F-4D97-AF65-F5344CB8AC3E}">
        <p14:creationId xmlns:p14="http://schemas.microsoft.com/office/powerpoint/2010/main" val="2785392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3" name="Picture 2" descr="T:\ASM\16-2458-ASM PPT Company\number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785" y="4480022"/>
            <a:ext cx="443321" cy="39904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userDrawn="1">
            <p:ph type="dt" sz="half" idx="10"/>
          </p:nvPr>
        </p:nvSpPr>
        <p:spPr/>
        <p:txBody>
          <a:bodyPr/>
          <a:lstStyle/>
          <a:p>
            <a:fld id="{B01C74D4-ABD7-4E7B-A5A0-2460BDCBEA9E}" type="datetime1">
              <a:rPr lang="en-US" smtClean="0"/>
              <a:t>1/26/2018</a:t>
            </a:fld>
            <a:endParaRPr lang="en-US" dirty="0"/>
          </a:p>
        </p:txBody>
      </p:sp>
      <p:sp>
        <p:nvSpPr>
          <p:cNvPr id="4" name="Fußzeilenplatzhalter 3"/>
          <p:cNvSpPr>
            <a:spLocks noGrp="1"/>
          </p:cNvSpPr>
          <p:nvPr userDrawn="1">
            <p:ph type="ftr" sz="quarter" idx="11"/>
          </p:nvPr>
        </p:nvSpPr>
        <p:spPr/>
        <p:txBody>
          <a:bodyPr/>
          <a:lstStyle/>
          <a:p>
            <a:r>
              <a:rPr lang="de-DE"/>
              <a:t>ASM Assembly Systems</a:t>
            </a:r>
            <a:endParaRPr lang="en-US" dirty="0"/>
          </a:p>
        </p:txBody>
      </p:sp>
      <p:sp>
        <p:nvSpPr>
          <p:cNvPr id="5" name="Foliennummernplatzhalter 4"/>
          <p:cNvSpPr>
            <a:spLocks noGrp="1"/>
          </p:cNvSpPr>
          <p:nvPr userDrawn="1">
            <p:ph type="sldNum" sz="quarter" idx="12"/>
          </p:nvPr>
        </p:nvSpPr>
        <p:spPr/>
        <p:txBody>
          <a:bodyPr/>
          <a:lstStyle/>
          <a:p>
            <a:r>
              <a:rPr lang="en-US" dirty="0"/>
              <a:t>Page  </a:t>
            </a:r>
            <a:fld id="{9204330F-C5AD-4AC0-88A8-9CB1F8F7EBD6}" type="slidenum">
              <a:rPr lang="en-US" smtClean="0"/>
              <a:pPr/>
              <a:t>‹Nr.›</a:t>
            </a:fld>
            <a:endParaRPr lang="en-US" dirty="0"/>
          </a:p>
        </p:txBody>
      </p:sp>
      <p:sp>
        <p:nvSpPr>
          <p:cNvPr id="16" name="Textplatzhalter 6"/>
          <p:cNvSpPr>
            <a:spLocks noGrp="1"/>
          </p:cNvSpPr>
          <p:nvPr userDrawn="1">
            <p:ph type="body" sz="quarter" idx="13"/>
          </p:nvPr>
        </p:nvSpPr>
        <p:spPr>
          <a:xfrm>
            <a:off x="2484438" y="1275606"/>
            <a:ext cx="5040000" cy="360000"/>
          </a:xfrm>
        </p:spPr>
        <p:txBody>
          <a:bodyPr anchor="ctr" anchorCtr="0"/>
          <a:lstStyle>
            <a:lvl1pPr>
              <a:defRPr>
                <a:solidFill>
                  <a:schemeClr val="tx1"/>
                </a:solidFill>
              </a:defRPr>
            </a:lvl1pPr>
          </a:lstStyle>
          <a:p>
            <a:pPr lvl="0"/>
            <a:r>
              <a:rPr lang="de-DE" dirty="0"/>
              <a:t>Textmasterformat bearbeiten</a:t>
            </a:r>
          </a:p>
        </p:txBody>
      </p:sp>
      <p:sp>
        <p:nvSpPr>
          <p:cNvPr id="17" name="Textplatzhalter 6"/>
          <p:cNvSpPr>
            <a:spLocks noGrp="1"/>
          </p:cNvSpPr>
          <p:nvPr userDrawn="1">
            <p:ph type="body" sz="quarter" idx="14"/>
          </p:nvPr>
        </p:nvSpPr>
        <p:spPr>
          <a:xfrm>
            <a:off x="2484438" y="4443998"/>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8" name="Textplatzhalter 6"/>
          <p:cNvSpPr>
            <a:spLocks noGrp="1"/>
          </p:cNvSpPr>
          <p:nvPr userDrawn="1">
            <p:ph type="body" sz="quarter" idx="15"/>
          </p:nvPr>
        </p:nvSpPr>
        <p:spPr>
          <a:xfrm>
            <a:off x="2484438" y="4047949"/>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9" name="Textplatzhalter 6"/>
          <p:cNvSpPr>
            <a:spLocks noGrp="1"/>
          </p:cNvSpPr>
          <p:nvPr userDrawn="1">
            <p:ph type="body" sz="quarter" idx="16"/>
          </p:nvPr>
        </p:nvSpPr>
        <p:spPr>
          <a:xfrm>
            <a:off x="2484438" y="3651900"/>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0" name="Textplatzhalter 6"/>
          <p:cNvSpPr>
            <a:spLocks noGrp="1"/>
          </p:cNvSpPr>
          <p:nvPr userDrawn="1">
            <p:ph type="body" sz="quarter" idx="17"/>
          </p:nvPr>
        </p:nvSpPr>
        <p:spPr>
          <a:xfrm>
            <a:off x="2484438" y="3255851"/>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1" name="Textplatzhalter 6"/>
          <p:cNvSpPr>
            <a:spLocks noGrp="1"/>
          </p:cNvSpPr>
          <p:nvPr userDrawn="1">
            <p:ph type="body" sz="quarter" idx="18"/>
          </p:nvPr>
        </p:nvSpPr>
        <p:spPr>
          <a:xfrm>
            <a:off x="2484438" y="2859802"/>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2" name="Textplatzhalter 6"/>
          <p:cNvSpPr>
            <a:spLocks noGrp="1"/>
          </p:cNvSpPr>
          <p:nvPr userDrawn="1">
            <p:ph type="body" sz="quarter" idx="19"/>
          </p:nvPr>
        </p:nvSpPr>
        <p:spPr>
          <a:xfrm>
            <a:off x="2484438" y="2463753"/>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3" name="Textplatzhalter 6"/>
          <p:cNvSpPr>
            <a:spLocks noGrp="1"/>
          </p:cNvSpPr>
          <p:nvPr userDrawn="1">
            <p:ph type="body" sz="quarter" idx="20"/>
          </p:nvPr>
        </p:nvSpPr>
        <p:spPr>
          <a:xfrm>
            <a:off x="2484438" y="2067704"/>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4" name="Textplatzhalter 6"/>
          <p:cNvSpPr>
            <a:spLocks noGrp="1"/>
          </p:cNvSpPr>
          <p:nvPr userDrawn="1">
            <p:ph type="body" sz="quarter" idx="21"/>
          </p:nvPr>
        </p:nvSpPr>
        <p:spPr>
          <a:xfrm>
            <a:off x="2484438" y="1671655"/>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grpSp>
        <p:nvGrpSpPr>
          <p:cNvPr id="31" name="Gruppieren 30"/>
          <p:cNvGrpSpPr/>
          <p:nvPr userDrawn="1"/>
        </p:nvGrpSpPr>
        <p:grpSpPr>
          <a:xfrm>
            <a:off x="0" y="900"/>
            <a:ext cx="9144000" cy="432000"/>
            <a:chOff x="0" y="900"/>
            <a:chExt cx="9144000" cy="432000"/>
          </a:xfrm>
        </p:grpSpPr>
        <p:sp>
          <p:nvSpPr>
            <p:cNvPr id="33" name="Rechteck 32"/>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a:ln>
                  <a:noFill/>
                </a:ln>
                <a:solidFill>
                  <a:schemeClr val="tx1"/>
                </a:solidFill>
                <a:effectLst/>
                <a:latin typeface="Arial" charset="0"/>
                <a:cs typeface="Arial" charset="0"/>
              </a:endParaRPr>
            </a:p>
          </p:txBody>
        </p:sp>
        <p:pic>
          <p:nvPicPr>
            <p:cNvPr id="34"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uppieren 27"/>
          <p:cNvGrpSpPr/>
          <p:nvPr userDrawn="1"/>
        </p:nvGrpSpPr>
        <p:grpSpPr>
          <a:xfrm>
            <a:off x="2470150" y="4922730"/>
            <a:ext cx="6423024" cy="138036"/>
            <a:chOff x="2470150" y="4922730"/>
            <a:chExt cx="6423024" cy="138036"/>
          </a:xfrm>
        </p:grpSpPr>
        <p:sp>
          <p:nvSpPr>
            <p:cNvPr id="2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3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Tree>
    <p:extLst>
      <p:ext uri="{BB962C8B-B14F-4D97-AF65-F5344CB8AC3E}">
        <p14:creationId xmlns:p14="http://schemas.microsoft.com/office/powerpoint/2010/main" val="11529036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ckground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p>
            <a:pPr lvl="0"/>
            <a:r>
              <a:rPr lang="de-DE" dirty="0"/>
              <a:t>Textmasterformat bearbeiten</a:t>
            </a:r>
            <a:endParaRPr lang="en-US" dirty="0"/>
          </a:p>
        </p:txBody>
      </p:sp>
    </p:spTree>
    <p:extLst>
      <p:ext uri="{BB962C8B-B14F-4D97-AF65-F5344CB8AC3E}">
        <p14:creationId xmlns:p14="http://schemas.microsoft.com/office/powerpoint/2010/main" val="12114476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E495CBDD-7DA5-4682-B654-58CABA956666}"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Tree>
    <p:extLst>
      <p:ext uri="{BB962C8B-B14F-4D97-AF65-F5344CB8AC3E}">
        <p14:creationId xmlns:p14="http://schemas.microsoft.com/office/powerpoint/2010/main" val="39689883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ackground_Benefit">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399"/>
          <a:stretch/>
        </p:blipFill>
        <p:spPr bwMode="auto">
          <a:xfrm>
            <a:off x="1354" y="432000"/>
            <a:ext cx="9141292" cy="47115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p>
            <a:pPr lvl="0"/>
            <a:r>
              <a:rPr lang="de-DE" dirty="0"/>
              <a:t>Textmasterformat bearbeiten</a:t>
            </a:r>
            <a:endParaRPr lang="en-US" dirty="0"/>
          </a:p>
        </p:txBody>
      </p:sp>
      <p:sp>
        <p:nvSpPr>
          <p:cNvPr id="11" name="Line 8"/>
          <p:cNvSpPr>
            <a:spLocks noChangeShapeType="1"/>
          </p:cNvSpPr>
          <p:nvPr/>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12"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spTree>
    <p:extLst>
      <p:ext uri="{BB962C8B-B14F-4D97-AF65-F5344CB8AC3E}">
        <p14:creationId xmlns:p14="http://schemas.microsoft.com/office/powerpoint/2010/main" val="19769492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ckground_Benefit_Backgroun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399"/>
          <a:stretch/>
        </p:blipFill>
        <p:spPr bwMode="auto">
          <a:xfrm>
            <a:off x="1354" y="432000"/>
            <a:ext cx="9141292" cy="4711500"/>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userDrawn="1"/>
        </p:nvSpPr>
        <p:spPr>
          <a:xfrm>
            <a:off x="2826504" y="915568"/>
            <a:ext cx="6065496" cy="392472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CCB56FB-1C14-47BF-8DEB-9EB8DE97DCBF}"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6" name="Textplatzhalter 7"/>
          <p:cNvSpPr>
            <a:spLocks noGrp="1"/>
          </p:cNvSpPr>
          <p:nvPr>
            <p:ph type="body" sz="quarter" idx="15"/>
          </p:nvPr>
        </p:nvSpPr>
        <p:spPr>
          <a:xfrm>
            <a:off x="2469600" y="4516438"/>
            <a:ext cx="6422400" cy="350762"/>
          </a:xfrm>
        </p:spPr>
        <p:txBody>
          <a:bodyPr anchor="b" anchorCtr="0">
            <a:noAutofit/>
          </a:bodyPr>
          <a:lstStyle>
            <a:lvl1pPr>
              <a:defRPr sz="1000"/>
            </a:lvl1pPr>
          </a:lstStyle>
          <a:p>
            <a:pPr lvl="0"/>
            <a:r>
              <a:rPr lang="de-DE" dirty="0"/>
              <a:t>Textmasterformat bearbeiten</a:t>
            </a:r>
            <a:endParaRPr lang="en-US" dirty="0"/>
          </a:p>
        </p:txBody>
      </p:sp>
      <p:sp>
        <p:nvSpPr>
          <p:cNvPr id="11" name="Line 8"/>
          <p:cNvSpPr>
            <a:spLocks noChangeShapeType="1"/>
          </p:cNvSpPr>
          <p:nvPr/>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12"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spTree>
    <p:extLst>
      <p:ext uri="{BB962C8B-B14F-4D97-AF65-F5344CB8AC3E}">
        <p14:creationId xmlns:p14="http://schemas.microsoft.com/office/powerpoint/2010/main" val="16600639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ser_Hero Shot_1 Text Container_Red">
    <p:spTree>
      <p:nvGrpSpPr>
        <p:cNvPr id="1" name=""/>
        <p:cNvGrpSpPr/>
        <p:nvPr/>
      </p:nvGrpSpPr>
      <p:grpSpPr>
        <a:xfrm>
          <a:off x="0" y="0"/>
          <a:ext cx="0" cy="0"/>
          <a:chOff x="0" y="0"/>
          <a:chExt cx="0" cy="0"/>
        </a:xfrm>
      </p:grpSpPr>
      <p:sp>
        <p:nvSpPr>
          <p:cNvPr id="16" name="Rechteck 15"/>
          <p:cNvSpPr/>
          <p:nvPr userDrawn="1"/>
        </p:nvSpPr>
        <p:spPr>
          <a:xfrm>
            <a:off x="2339752" y="1368000"/>
            <a:ext cx="6804248"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uppieren 16"/>
          <p:cNvGrpSpPr/>
          <p:nvPr userDrawn="1"/>
        </p:nvGrpSpPr>
        <p:grpSpPr>
          <a:xfrm>
            <a:off x="2470150" y="4922730"/>
            <a:ext cx="6423024" cy="138036"/>
            <a:chOff x="2470150" y="4922730"/>
            <a:chExt cx="6423024" cy="138036"/>
          </a:xfrm>
        </p:grpSpPr>
        <p:sp>
          <p:nvSpPr>
            <p:cNvPr id="23"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26"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
        <p:nvSpPr>
          <p:cNvPr id="18" name="Freihandform 17"/>
          <p:cNvSpPr>
            <a:spLocks noChangeAspect="1"/>
          </p:cNvSpPr>
          <p:nvPr userDrawn="1"/>
        </p:nvSpPr>
        <p:spPr>
          <a:xfrm>
            <a:off x="1367652" y="1368004"/>
            <a:ext cx="1015445" cy="3776399"/>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100012 w 1014952"/>
              <a:gd name="connsiteY7"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386827 w 1014952"/>
              <a:gd name="connsiteY7" fmla="*/ 930323 h 4710113"/>
              <a:gd name="connsiteX8" fmla="*/ 100012 w 1014952"/>
              <a:gd name="connsiteY8" fmla="*/ 0 h 4710113"/>
              <a:gd name="connsiteX0" fmla="*/ 100012 w 1014952"/>
              <a:gd name="connsiteY0" fmla="*/ 0 h 4710113"/>
              <a:gd name="connsiteX1" fmla="*/ 885825 w 1014952"/>
              <a:gd name="connsiteY1" fmla="*/ 0 h 4710113"/>
              <a:gd name="connsiteX2" fmla="*/ 1014952 w 1014952"/>
              <a:gd name="connsiteY2" fmla="*/ 930323 h 4710113"/>
              <a:gd name="connsiteX3" fmla="*/ 1014412 w 1014952"/>
              <a:gd name="connsiteY3" fmla="*/ 4710113 h 4710113"/>
              <a:gd name="connsiteX4" fmla="*/ 0 w 1014952"/>
              <a:gd name="connsiteY4" fmla="*/ 4710113 h 4710113"/>
              <a:gd name="connsiteX5" fmla="*/ 952500 w 1014952"/>
              <a:gd name="connsiteY5" fmla="*/ 2776538 h 4710113"/>
              <a:gd name="connsiteX6" fmla="*/ 386827 w 1014952"/>
              <a:gd name="connsiteY6" fmla="*/ 930323 h 4710113"/>
              <a:gd name="connsiteX7" fmla="*/ 100012 w 1014952"/>
              <a:gd name="connsiteY7" fmla="*/ 0 h 4710113"/>
              <a:gd name="connsiteX0" fmla="*/ 100012 w 1014952"/>
              <a:gd name="connsiteY0" fmla="*/ 0 h 4710113"/>
              <a:gd name="connsiteX1" fmla="*/ 1014952 w 1014952"/>
              <a:gd name="connsiteY1" fmla="*/ 930323 h 4710113"/>
              <a:gd name="connsiteX2" fmla="*/ 1014412 w 1014952"/>
              <a:gd name="connsiteY2" fmla="*/ 4710113 h 4710113"/>
              <a:gd name="connsiteX3" fmla="*/ 0 w 1014952"/>
              <a:gd name="connsiteY3" fmla="*/ 4710113 h 4710113"/>
              <a:gd name="connsiteX4" fmla="*/ 952500 w 1014952"/>
              <a:gd name="connsiteY4" fmla="*/ 2776538 h 4710113"/>
              <a:gd name="connsiteX5" fmla="*/ 386827 w 1014952"/>
              <a:gd name="connsiteY5" fmla="*/ 930323 h 4710113"/>
              <a:gd name="connsiteX6" fmla="*/ 100012 w 1014952"/>
              <a:gd name="connsiteY6" fmla="*/ 0 h 4710113"/>
              <a:gd name="connsiteX0" fmla="*/ 386827 w 1014952"/>
              <a:gd name="connsiteY0" fmla="*/ 0 h 3779790"/>
              <a:gd name="connsiteX1" fmla="*/ 1014952 w 1014952"/>
              <a:gd name="connsiteY1" fmla="*/ 0 h 3779790"/>
              <a:gd name="connsiteX2" fmla="*/ 1014412 w 1014952"/>
              <a:gd name="connsiteY2" fmla="*/ 3779790 h 3779790"/>
              <a:gd name="connsiteX3" fmla="*/ 0 w 1014952"/>
              <a:gd name="connsiteY3" fmla="*/ 3779790 h 3779790"/>
              <a:gd name="connsiteX4" fmla="*/ 952500 w 1014952"/>
              <a:gd name="connsiteY4" fmla="*/ 1846215 h 3779790"/>
              <a:gd name="connsiteX5" fmla="*/ 386827 w 1014952"/>
              <a:gd name="connsiteY5" fmla="*/ 0 h 37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952" h="3779790">
                <a:moveTo>
                  <a:pt x="386827" y="0"/>
                </a:moveTo>
                <a:lnTo>
                  <a:pt x="1014952" y="0"/>
                </a:lnTo>
                <a:lnTo>
                  <a:pt x="1014412" y="3779790"/>
                </a:lnTo>
                <a:lnTo>
                  <a:pt x="0" y="3779790"/>
                </a:lnTo>
                <a:lnTo>
                  <a:pt x="952500" y="1846215"/>
                </a:lnTo>
                <a:lnTo>
                  <a:pt x="3868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3" name="Datumsplatzhalter 2"/>
          <p:cNvSpPr>
            <a:spLocks noGrp="1"/>
          </p:cNvSpPr>
          <p:nvPr userDrawn="1">
            <p:ph type="dt" sz="half" idx="10"/>
          </p:nvPr>
        </p:nvSpPr>
        <p:spPr/>
        <p:txBody>
          <a:bodyPr/>
          <a:lstStyle>
            <a:lvl1pPr>
              <a:defRPr>
                <a:solidFill>
                  <a:schemeClr val="bg1"/>
                </a:solidFill>
              </a:defRPr>
            </a:lvl1pPr>
          </a:lstStyle>
          <a:p>
            <a:fld id="{7C896B75-6883-4F39-8354-ED7F292F5BB2}" type="datetime1">
              <a:rPr lang="en-US" smtClean="0"/>
              <a:t>1/26/2018</a:t>
            </a:fld>
            <a:endParaRPr lang="en-US" dirty="0"/>
          </a:p>
        </p:txBody>
      </p:sp>
      <p:sp>
        <p:nvSpPr>
          <p:cNvPr id="4" name="Fußzeilenplatzhalter 3"/>
          <p:cNvSpPr>
            <a:spLocks noGrp="1"/>
          </p:cNvSpPr>
          <p:nvPr userDrawn="1">
            <p:ph type="ftr" sz="quarter" idx="11"/>
          </p:nvPr>
        </p:nvSpPr>
        <p:spPr/>
        <p:txBody>
          <a:bodyPr/>
          <a:lstStyle>
            <a:lvl1pPr>
              <a:defRPr>
                <a:solidFill>
                  <a:schemeClr val="bg1"/>
                </a:solidFill>
              </a:defRPr>
            </a:lvl1pPr>
          </a:lstStyle>
          <a:p>
            <a:r>
              <a:rPr lang="de-DE"/>
              <a:t>ASM Assembly Systems</a:t>
            </a:r>
            <a:endParaRPr lang="en-US" dirty="0"/>
          </a:p>
        </p:txBody>
      </p:sp>
      <p:sp>
        <p:nvSpPr>
          <p:cNvPr id="5" name="Foliennummernplatzhalter 4"/>
          <p:cNvSpPr>
            <a:spLocks noGrp="1"/>
          </p:cNvSpPr>
          <p:nvPr userDrawn="1">
            <p:ph type="sldNum" sz="quarter" idx="12"/>
          </p:nvPr>
        </p:nvSpPr>
        <p:spPr/>
        <p:txBody>
          <a:bodyPr/>
          <a:lstStyle>
            <a:lvl1pPr>
              <a:defRPr>
                <a:solidFill>
                  <a:schemeClr val="bg1"/>
                </a:solidFill>
              </a:defRPr>
            </a:lvl1pPr>
          </a:lstStyle>
          <a:p>
            <a:r>
              <a:rPr lang="en-US" dirty="0"/>
              <a:t>Page </a:t>
            </a:r>
            <a:fld id="{9204330F-C5AD-4AC0-88A8-9CB1F8F7EBD6}" type="slidenum">
              <a:rPr lang="en-US" smtClean="0"/>
              <a:pPr/>
              <a:t>‹Nr.›</a:t>
            </a:fld>
            <a:endParaRPr lang="en-US" dirty="0"/>
          </a:p>
        </p:txBody>
      </p:sp>
      <p:sp>
        <p:nvSpPr>
          <p:cNvPr id="13" name="Textplatzhalter 12"/>
          <p:cNvSpPr>
            <a:spLocks noGrp="1"/>
          </p:cNvSpPr>
          <p:nvPr userDrawn="1">
            <p:ph type="body" sz="quarter" idx="13"/>
          </p:nvPr>
        </p:nvSpPr>
        <p:spPr>
          <a:xfrm>
            <a:off x="3203848" y="2067694"/>
            <a:ext cx="5689326" cy="2736080"/>
          </a:xfrm>
        </p:spPr>
        <p:txBody>
          <a:bodyPr>
            <a:normAutofit/>
          </a:bodyPr>
          <a:lstStyle>
            <a:lvl1pPr>
              <a:defRPr lang="de-DE" sz="1600" b="1" kern="1200" dirty="0" smtClean="0">
                <a:solidFill>
                  <a:schemeClr val="bg1"/>
                </a:solidFill>
                <a:latin typeface="+mn-lt"/>
                <a:ea typeface="+mn-ea"/>
                <a:cs typeface="+mn-cs"/>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21"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
        <p:nvSpPr>
          <p:cNvPr id="2" name="Titel 1"/>
          <p:cNvSpPr>
            <a:spLocks noGrp="1"/>
          </p:cNvSpPr>
          <p:nvPr userDrawn="1">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Tree>
    <p:extLst>
      <p:ext uri="{BB962C8B-B14F-4D97-AF65-F5344CB8AC3E}">
        <p14:creationId xmlns:p14="http://schemas.microsoft.com/office/powerpoint/2010/main" val="41891026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easer_Triangle  Picture_1 Text Container_Benefit_Red">
    <p:spTree>
      <p:nvGrpSpPr>
        <p:cNvPr id="1" name=""/>
        <p:cNvGrpSpPr/>
        <p:nvPr/>
      </p:nvGrpSpPr>
      <p:grpSpPr>
        <a:xfrm>
          <a:off x="0" y="0"/>
          <a:ext cx="0" cy="0"/>
          <a:chOff x="0" y="0"/>
          <a:chExt cx="0" cy="0"/>
        </a:xfrm>
      </p:grpSpPr>
      <p:sp>
        <p:nvSpPr>
          <p:cNvPr id="13" name="Rechteck 12"/>
          <p:cNvSpPr/>
          <p:nvPr userDrawn="1"/>
        </p:nvSpPr>
        <p:spPr>
          <a:xfrm>
            <a:off x="0" y="432001"/>
            <a:ext cx="2375756" cy="4712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Bildplatzhalter 7"/>
          <p:cNvSpPr>
            <a:spLocks noGrp="1" noChangeAspect="1"/>
          </p:cNvSpPr>
          <p:nvPr>
            <p:ph type="pic" sz="quarter" idx="14"/>
          </p:nvPr>
        </p:nvSpPr>
        <p:spPr>
          <a:xfrm>
            <a:off x="-4382" y="431999"/>
            <a:ext cx="2326095" cy="4712877"/>
          </a:xfrm>
          <a:custGeom>
            <a:avLst/>
            <a:gdLst>
              <a:gd name="connsiteX0" fmla="*/ 0 w 1727200"/>
              <a:gd name="connsiteY0" fmla="*/ 1223962 h 1223962"/>
              <a:gd name="connsiteX1" fmla="*/ 305991 w 1727200"/>
              <a:gd name="connsiteY1" fmla="*/ 0 h 1223962"/>
              <a:gd name="connsiteX2" fmla="*/ 1421210 w 1727200"/>
              <a:gd name="connsiteY2" fmla="*/ 0 h 1223962"/>
              <a:gd name="connsiteX3" fmla="*/ 1727200 w 1727200"/>
              <a:gd name="connsiteY3" fmla="*/ 1223962 h 1223962"/>
              <a:gd name="connsiteX4" fmla="*/ 0 w 1727200"/>
              <a:gd name="connsiteY4" fmla="*/ 1223962 h 1223962"/>
              <a:gd name="connsiteX0" fmla="*/ 0 w 1727200"/>
              <a:gd name="connsiteY0" fmla="*/ 2793455 h 2793455"/>
              <a:gd name="connsiteX1" fmla="*/ 305991 w 1727200"/>
              <a:gd name="connsiteY1" fmla="*/ 1569493 h 2793455"/>
              <a:gd name="connsiteX2" fmla="*/ 1100488 w 1727200"/>
              <a:gd name="connsiteY2" fmla="*/ 0 h 2793455"/>
              <a:gd name="connsiteX3" fmla="*/ 1727200 w 1727200"/>
              <a:gd name="connsiteY3" fmla="*/ 2793455 h 2793455"/>
              <a:gd name="connsiteX4" fmla="*/ 0 w 1727200"/>
              <a:gd name="connsiteY4" fmla="*/ 2793455 h 2793455"/>
              <a:gd name="connsiteX0" fmla="*/ 0 w 1727200"/>
              <a:gd name="connsiteY0" fmla="*/ 2793455 h 2793455"/>
              <a:gd name="connsiteX1" fmla="*/ 305991 w 1727200"/>
              <a:gd name="connsiteY1" fmla="*/ 1569493 h 2793455"/>
              <a:gd name="connsiteX2" fmla="*/ 1100488 w 1727200"/>
              <a:gd name="connsiteY2" fmla="*/ 0 h 2793455"/>
              <a:gd name="connsiteX3" fmla="*/ 1491302 w 1727200"/>
              <a:gd name="connsiteY3" fmla="*/ 1791767 h 2793455"/>
              <a:gd name="connsiteX4" fmla="*/ 1727200 w 1727200"/>
              <a:gd name="connsiteY4" fmla="*/ 2793455 h 2793455"/>
              <a:gd name="connsiteX5" fmla="*/ 0 w 1727200"/>
              <a:gd name="connsiteY5" fmla="*/ 2793455 h 2793455"/>
              <a:gd name="connsiteX0" fmla="*/ 0 w 2009917"/>
              <a:gd name="connsiteY0" fmla="*/ 2793455 h 2822173"/>
              <a:gd name="connsiteX1" fmla="*/ 305991 w 2009917"/>
              <a:gd name="connsiteY1" fmla="*/ 1569493 h 2822173"/>
              <a:gd name="connsiteX2" fmla="*/ 1100488 w 2009917"/>
              <a:gd name="connsiteY2" fmla="*/ 0 h 2822173"/>
              <a:gd name="connsiteX3" fmla="*/ 2009917 w 2009917"/>
              <a:gd name="connsiteY3" fmla="*/ 2822173 h 2822173"/>
              <a:gd name="connsiteX4" fmla="*/ 1727200 w 2009917"/>
              <a:gd name="connsiteY4" fmla="*/ 2793455 h 2822173"/>
              <a:gd name="connsiteX5" fmla="*/ 0 w 2009917"/>
              <a:gd name="connsiteY5" fmla="*/ 2793455 h 2822173"/>
              <a:gd name="connsiteX0" fmla="*/ 0 w 2009917"/>
              <a:gd name="connsiteY0" fmla="*/ 2793455 h 4710965"/>
              <a:gd name="connsiteX1" fmla="*/ 305991 w 2009917"/>
              <a:gd name="connsiteY1" fmla="*/ 1569493 h 4710965"/>
              <a:gd name="connsiteX2" fmla="*/ 1100488 w 2009917"/>
              <a:gd name="connsiteY2" fmla="*/ 0 h 4710965"/>
              <a:gd name="connsiteX3" fmla="*/ 2009917 w 2009917"/>
              <a:gd name="connsiteY3" fmla="*/ 2822173 h 4710965"/>
              <a:gd name="connsiteX4" fmla="*/ 1065284 w 2009917"/>
              <a:gd name="connsiteY4" fmla="*/ 4710965 h 4710965"/>
              <a:gd name="connsiteX5" fmla="*/ 0 w 2009917"/>
              <a:gd name="connsiteY5" fmla="*/ 2793455 h 4710965"/>
              <a:gd name="connsiteX0" fmla="*/ 0 w 2323815"/>
              <a:gd name="connsiteY0" fmla="*/ 4717789 h 4717789"/>
              <a:gd name="connsiteX1" fmla="*/ 619889 w 2323815"/>
              <a:gd name="connsiteY1" fmla="*/ 1569493 h 4717789"/>
              <a:gd name="connsiteX2" fmla="*/ 1414386 w 2323815"/>
              <a:gd name="connsiteY2" fmla="*/ 0 h 4717789"/>
              <a:gd name="connsiteX3" fmla="*/ 2323815 w 2323815"/>
              <a:gd name="connsiteY3" fmla="*/ 2822173 h 4717789"/>
              <a:gd name="connsiteX4" fmla="*/ 1379182 w 2323815"/>
              <a:gd name="connsiteY4" fmla="*/ 4710965 h 4717789"/>
              <a:gd name="connsiteX5" fmla="*/ 0 w 2323815"/>
              <a:gd name="connsiteY5" fmla="*/ 4717789 h 4717789"/>
              <a:gd name="connsiteX0" fmla="*/ 14732 w 2338547"/>
              <a:gd name="connsiteY0" fmla="*/ 4724613 h 4724613"/>
              <a:gd name="connsiteX1" fmla="*/ 0 w 2338547"/>
              <a:gd name="connsiteY1" fmla="*/ 0 h 4724613"/>
              <a:gd name="connsiteX2" fmla="*/ 1429118 w 2338547"/>
              <a:gd name="connsiteY2" fmla="*/ 6824 h 4724613"/>
              <a:gd name="connsiteX3" fmla="*/ 2338547 w 2338547"/>
              <a:gd name="connsiteY3" fmla="*/ 2828997 h 4724613"/>
              <a:gd name="connsiteX4" fmla="*/ 1393914 w 2338547"/>
              <a:gd name="connsiteY4" fmla="*/ 4717789 h 4724613"/>
              <a:gd name="connsiteX5" fmla="*/ 14732 w 2338547"/>
              <a:gd name="connsiteY5" fmla="*/ 4724613 h 4724613"/>
              <a:gd name="connsiteX0" fmla="*/ 9122 w 2332937"/>
              <a:gd name="connsiteY0" fmla="*/ 4717789 h 4717789"/>
              <a:gd name="connsiteX1" fmla="*/ 0 w 2332937"/>
              <a:gd name="connsiteY1" fmla="*/ 15615 h 4717789"/>
              <a:gd name="connsiteX2" fmla="*/ 1423508 w 2332937"/>
              <a:gd name="connsiteY2" fmla="*/ 0 h 4717789"/>
              <a:gd name="connsiteX3" fmla="*/ 2332937 w 2332937"/>
              <a:gd name="connsiteY3" fmla="*/ 2822173 h 4717789"/>
              <a:gd name="connsiteX4" fmla="*/ 1388304 w 2332937"/>
              <a:gd name="connsiteY4" fmla="*/ 4710965 h 4717789"/>
              <a:gd name="connsiteX5" fmla="*/ 9122 w 2332937"/>
              <a:gd name="connsiteY5" fmla="*/ 4717789 h 4717789"/>
              <a:gd name="connsiteX0" fmla="*/ 9122 w 2332937"/>
              <a:gd name="connsiteY0" fmla="*/ 4702174 h 4702174"/>
              <a:gd name="connsiteX1" fmla="*/ 0 w 2332937"/>
              <a:gd name="connsiteY1" fmla="*/ 0 h 4702174"/>
              <a:gd name="connsiteX2" fmla="*/ 1518875 w 2332937"/>
              <a:gd name="connsiteY2" fmla="*/ 141460 h 4702174"/>
              <a:gd name="connsiteX3" fmla="*/ 2332937 w 2332937"/>
              <a:gd name="connsiteY3" fmla="*/ 2806558 h 4702174"/>
              <a:gd name="connsiteX4" fmla="*/ 1388304 w 2332937"/>
              <a:gd name="connsiteY4" fmla="*/ 4695350 h 4702174"/>
              <a:gd name="connsiteX5" fmla="*/ 9122 w 2332937"/>
              <a:gd name="connsiteY5" fmla="*/ 4702174 h 4702174"/>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0953 h 4706569"/>
              <a:gd name="connsiteX4" fmla="*/ 1388304 w 2332937"/>
              <a:gd name="connsiteY4" fmla="*/ 4699745 h 4706569"/>
              <a:gd name="connsiteX5" fmla="*/ 9122 w 2332937"/>
              <a:gd name="connsiteY5" fmla="*/ 4706569 h 4706569"/>
              <a:gd name="connsiteX0" fmla="*/ 9122 w 2209521"/>
              <a:gd name="connsiteY0" fmla="*/ 4706569 h 4706569"/>
              <a:gd name="connsiteX1" fmla="*/ 0 w 2209521"/>
              <a:gd name="connsiteY1" fmla="*/ 4395 h 4706569"/>
              <a:gd name="connsiteX2" fmla="*/ 1440338 w 2209521"/>
              <a:gd name="connsiteY2" fmla="*/ 0 h 4706569"/>
              <a:gd name="connsiteX3" fmla="*/ 2209521 w 2209521"/>
              <a:gd name="connsiteY3" fmla="*/ 2900710 h 4706569"/>
              <a:gd name="connsiteX4" fmla="*/ 1388304 w 2209521"/>
              <a:gd name="connsiteY4" fmla="*/ 4699745 h 4706569"/>
              <a:gd name="connsiteX5" fmla="*/ 9122 w 2209521"/>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699745 h 4706569"/>
              <a:gd name="connsiteX5" fmla="*/ 9122 w 2332937"/>
              <a:gd name="connsiteY5" fmla="*/ 4706569 h 4706569"/>
              <a:gd name="connsiteX0" fmla="*/ 9122 w 2332937"/>
              <a:gd name="connsiteY0" fmla="*/ 4706569 h 4710965"/>
              <a:gd name="connsiteX1" fmla="*/ 0 w 2332937"/>
              <a:gd name="connsiteY1" fmla="*/ 4395 h 4710965"/>
              <a:gd name="connsiteX2" fmla="*/ 1440338 w 2332937"/>
              <a:gd name="connsiteY2" fmla="*/ 0 h 4710965"/>
              <a:gd name="connsiteX3" fmla="*/ 2332937 w 2332937"/>
              <a:gd name="connsiteY3" fmla="*/ 2816563 h 4710965"/>
              <a:gd name="connsiteX4" fmla="*/ 1304156 w 2332937"/>
              <a:gd name="connsiteY4" fmla="*/ 4710965 h 4710965"/>
              <a:gd name="connsiteX5" fmla="*/ 9122 w 2332937"/>
              <a:gd name="connsiteY5" fmla="*/ 4706569 h 4710965"/>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06569 h 4706569"/>
              <a:gd name="connsiteX1" fmla="*/ 0 w 2332937"/>
              <a:gd name="connsiteY1" fmla="*/ 4395 h 4706569"/>
              <a:gd name="connsiteX2" fmla="*/ 1440338 w 2332937"/>
              <a:gd name="connsiteY2" fmla="*/ 0 h 4706569"/>
              <a:gd name="connsiteX3" fmla="*/ 2332937 w 2332937"/>
              <a:gd name="connsiteY3" fmla="*/ 2816563 h 4706569"/>
              <a:gd name="connsiteX4" fmla="*/ 1388304 w 2332937"/>
              <a:gd name="connsiteY4" fmla="*/ 4705356 h 4706569"/>
              <a:gd name="connsiteX5" fmla="*/ 9122 w 2332937"/>
              <a:gd name="connsiteY5" fmla="*/ 4706569 h 4706569"/>
              <a:gd name="connsiteX0" fmla="*/ 9122 w 2332937"/>
              <a:gd name="connsiteY0" fmla="*/ 4785106 h 4785106"/>
              <a:gd name="connsiteX1" fmla="*/ 0 w 2332937"/>
              <a:gd name="connsiteY1" fmla="*/ 82932 h 4785106"/>
              <a:gd name="connsiteX2" fmla="*/ 1417899 w 2332937"/>
              <a:gd name="connsiteY2" fmla="*/ 0 h 4785106"/>
              <a:gd name="connsiteX3" fmla="*/ 2332937 w 2332937"/>
              <a:gd name="connsiteY3" fmla="*/ 2895100 h 4785106"/>
              <a:gd name="connsiteX4" fmla="*/ 1388304 w 2332937"/>
              <a:gd name="connsiteY4" fmla="*/ 4783893 h 4785106"/>
              <a:gd name="connsiteX5" fmla="*/ 9122 w 2332937"/>
              <a:gd name="connsiteY5" fmla="*/ 4785106 h 4785106"/>
              <a:gd name="connsiteX0" fmla="*/ 14731 w 2338546"/>
              <a:gd name="connsiteY0" fmla="*/ 4859248 h 4859248"/>
              <a:gd name="connsiteX1" fmla="*/ 0 w 2338546"/>
              <a:gd name="connsiteY1" fmla="*/ 0 h 4859248"/>
              <a:gd name="connsiteX2" fmla="*/ 1423508 w 2338546"/>
              <a:gd name="connsiteY2" fmla="*/ 74142 h 4859248"/>
              <a:gd name="connsiteX3" fmla="*/ 2338546 w 2338546"/>
              <a:gd name="connsiteY3" fmla="*/ 2969242 h 4859248"/>
              <a:gd name="connsiteX4" fmla="*/ 1393913 w 2338546"/>
              <a:gd name="connsiteY4" fmla="*/ 4858035 h 4859248"/>
              <a:gd name="connsiteX5" fmla="*/ 14731 w 2338546"/>
              <a:gd name="connsiteY5" fmla="*/ 4859248 h 4859248"/>
              <a:gd name="connsiteX0" fmla="*/ 14731 w 2338546"/>
              <a:gd name="connsiteY0" fmla="*/ 5145348 h 5145348"/>
              <a:gd name="connsiteX1" fmla="*/ 0 w 2338546"/>
              <a:gd name="connsiteY1" fmla="*/ 0 h 5145348"/>
              <a:gd name="connsiteX2" fmla="*/ 1423508 w 2338546"/>
              <a:gd name="connsiteY2" fmla="*/ 360242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5145348 h 5145348"/>
              <a:gd name="connsiteX1" fmla="*/ 0 w 2338546"/>
              <a:gd name="connsiteY1" fmla="*/ 0 h 5145348"/>
              <a:gd name="connsiteX2" fmla="*/ 1445948 w 2338546"/>
              <a:gd name="connsiteY2" fmla="*/ 421950 h 5145348"/>
              <a:gd name="connsiteX3" fmla="*/ 2338546 w 2338546"/>
              <a:gd name="connsiteY3" fmla="*/ 3255342 h 5145348"/>
              <a:gd name="connsiteX4" fmla="*/ 1393913 w 2338546"/>
              <a:gd name="connsiteY4" fmla="*/ 5144135 h 5145348"/>
              <a:gd name="connsiteX5" fmla="*/ 14731 w 2338546"/>
              <a:gd name="connsiteY5" fmla="*/ 5145348 h 5145348"/>
              <a:gd name="connsiteX0" fmla="*/ 14731 w 2338546"/>
              <a:gd name="connsiteY0" fmla="*/ 4747051 h 4747051"/>
              <a:gd name="connsiteX1" fmla="*/ 0 w 2338546"/>
              <a:gd name="connsiteY1" fmla="*/ 0 h 4747051"/>
              <a:gd name="connsiteX2" fmla="*/ 1445948 w 2338546"/>
              <a:gd name="connsiteY2" fmla="*/ 23653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14731 w 2338546"/>
              <a:gd name="connsiteY0" fmla="*/ 4747051 h 4747051"/>
              <a:gd name="connsiteX1" fmla="*/ 0 w 2338546"/>
              <a:gd name="connsiteY1" fmla="*/ 0 h 4747051"/>
              <a:gd name="connsiteX2" fmla="*/ 1434728 w 2338546"/>
              <a:gd name="connsiteY2" fmla="*/ 1214 h 4747051"/>
              <a:gd name="connsiteX3" fmla="*/ 2338546 w 2338546"/>
              <a:gd name="connsiteY3" fmla="*/ 2857045 h 4747051"/>
              <a:gd name="connsiteX4" fmla="*/ 1393913 w 2338546"/>
              <a:gd name="connsiteY4" fmla="*/ 4745838 h 4747051"/>
              <a:gd name="connsiteX5" fmla="*/ 14731 w 2338546"/>
              <a:gd name="connsiteY5" fmla="*/ 4747051 h 4747051"/>
              <a:gd name="connsiteX0" fmla="*/ 912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9121 w 2332936"/>
              <a:gd name="connsiteY5" fmla="*/ 4745837 h 4745837"/>
              <a:gd name="connsiteX0" fmla="*/ 3511 w 2332936"/>
              <a:gd name="connsiteY0" fmla="*/ 4745837 h 4745837"/>
              <a:gd name="connsiteX1" fmla="*/ 0 w 2332936"/>
              <a:gd name="connsiteY1" fmla="*/ 4396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45837 h 4745837"/>
              <a:gd name="connsiteX1" fmla="*/ 0 w 2332936"/>
              <a:gd name="connsiteY1" fmla="*/ 27030 h 4745837"/>
              <a:gd name="connsiteX2" fmla="*/ 1429118 w 2332936"/>
              <a:gd name="connsiteY2" fmla="*/ 0 h 4745837"/>
              <a:gd name="connsiteX3" fmla="*/ 2332936 w 2332936"/>
              <a:gd name="connsiteY3" fmla="*/ 2855831 h 4745837"/>
              <a:gd name="connsiteX4" fmla="*/ 1388303 w 2332936"/>
              <a:gd name="connsiteY4" fmla="*/ 4744624 h 4745837"/>
              <a:gd name="connsiteX5" fmla="*/ 3511 w 2332936"/>
              <a:gd name="connsiteY5" fmla="*/ 4745837 h 4745837"/>
              <a:gd name="connsiteX0" fmla="*/ 3511 w 2332936"/>
              <a:gd name="connsiteY0" fmla="*/ 4718807 h 4718807"/>
              <a:gd name="connsiteX1" fmla="*/ 0 w 2332936"/>
              <a:gd name="connsiteY1" fmla="*/ 0 h 4718807"/>
              <a:gd name="connsiteX2" fmla="*/ 1429118 w 2332936"/>
              <a:gd name="connsiteY2" fmla="*/ 4658 h 4718807"/>
              <a:gd name="connsiteX3" fmla="*/ 2332936 w 2332936"/>
              <a:gd name="connsiteY3" fmla="*/ 2828801 h 4718807"/>
              <a:gd name="connsiteX4" fmla="*/ 1388303 w 2332936"/>
              <a:gd name="connsiteY4" fmla="*/ 4717594 h 4718807"/>
              <a:gd name="connsiteX5" fmla="*/ 3511 w 2332936"/>
              <a:gd name="connsiteY5" fmla="*/ 4718807 h 4718807"/>
              <a:gd name="connsiteX0" fmla="*/ 8038 w 2337463"/>
              <a:gd name="connsiteY0" fmla="*/ 4714280 h 4714280"/>
              <a:gd name="connsiteX1" fmla="*/ 0 w 2337463"/>
              <a:gd name="connsiteY1" fmla="*/ 0 h 4714280"/>
              <a:gd name="connsiteX2" fmla="*/ 1433645 w 2337463"/>
              <a:gd name="connsiteY2" fmla="*/ 131 h 4714280"/>
              <a:gd name="connsiteX3" fmla="*/ 2337463 w 2337463"/>
              <a:gd name="connsiteY3" fmla="*/ 2824274 h 4714280"/>
              <a:gd name="connsiteX4" fmla="*/ 1392830 w 2337463"/>
              <a:gd name="connsiteY4" fmla="*/ 4713067 h 4714280"/>
              <a:gd name="connsiteX5" fmla="*/ 8038 w 2337463"/>
              <a:gd name="connsiteY5" fmla="*/ 4714280 h 4714280"/>
              <a:gd name="connsiteX0" fmla="*/ 8038 w 2337463"/>
              <a:gd name="connsiteY0" fmla="*/ 4716161 h 4716161"/>
              <a:gd name="connsiteX1" fmla="*/ 0 w 2337463"/>
              <a:gd name="connsiteY1" fmla="*/ 0 h 4716161"/>
              <a:gd name="connsiteX2" fmla="*/ 1433645 w 2337463"/>
              <a:gd name="connsiteY2" fmla="*/ 131 h 4716161"/>
              <a:gd name="connsiteX3" fmla="*/ 2337463 w 2337463"/>
              <a:gd name="connsiteY3" fmla="*/ 2824274 h 4716161"/>
              <a:gd name="connsiteX4" fmla="*/ 1392830 w 2337463"/>
              <a:gd name="connsiteY4" fmla="*/ 4713067 h 4716161"/>
              <a:gd name="connsiteX5" fmla="*/ 8038 w 2337463"/>
              <a:gd name="connsiteY5" fmla="*/ 4716161 h 4716161"/>
              <a:gd name="connsiteX0" fmla="*/ 1177 w 2341174"/>
              <a:gd name="connsiteY0" fmla="*/ 4721451 h 4721451"/>
              <a:gd name="connsiteX1" fmla="*/ 3711 w 2341174"/>
              <a:gd name="connsiteY1" fmla="*/ 0 h 4721451"/>
              <a:gd name="connsiteX2" fmla="*/ 1437356 w 2341174"/>
              <a:gd name="connsiteY2" fmla="*/ 131 h 4721451"/>
              <a:gd name="connsiteX3" fmla="*/ 2341174 w 2341174"/>
              <a:gd name="connsiteY3" fmla="*/ 2824274 h 4721451"/>
              <a:gd name="connsiteX4" fmla="*/ 1396541 w 2341174"/>
              <a:gd name="connsiteY4" fmla="*/ 4713067 h 4721451"/>
              <a:gd name="connsiteX5" fmla="*/ 1177 w 2341174"/>
              <a:gd name="connsiteY5" fmla="*/ 4721451 h 4721451"/>
              <a:gd name="connsiteX0" fmla="*/ 1177 w 2341174"/>
              <a:gd name="connsiteY0" fmla="*/ 4716161 h 4716161"/>
              <a:gd name="connsiteX1" fmla="*/ 3711 w 2341174"/>
              <a:gd name="connsiteY1" fmla="*/ 0 h 4716161"/>
              <a:gd name="connsiteX2" fmla="*/ 1437356 w 2341174"/>
              <a:gd name="connsiteY2" fmla="*/ 131 h 4716161"/>
              <a:gd name="connsiteX3" fmla="*/ 2341174 w 2341174"/>
              <a:gd name="connsiteY3" fmla="*/ 2824274 h 4716161"/>
              <a:gd name="connsiteX4" fmla="*/ 1396541 w 2341174"/>
              <a:gd name="connsiteY4" fmla="*/ 4713067 h 4716161"/>
              <a:gd name="connsiteX5" fmla="*/ 1177 w 2341174"/>
              <a:gd name="connsiteY5" fmla="*/ 4716161 h 4716161"/>
              <a:gd name="connsiteX0" fmla="*/ 1177 w 2333223"/>
              <a:gd name="connsiteY0" fmla="*/ 4716161 h 4716161"/>
              <a:gd name="connsiteX1" fmla="*/ 3711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32077 h 4732077"/>
              <a:gd name="connsiteX1" fmla="*/ 3711 w 2333223"/>
              <a:gd name="connsiteY1" fmla="*/ 0 h 4732077"/>
              <a:gd name="connsiteX2" fmla="*/ 1437356 w 2333223"/>
              <a:gd name="connsiteY2" fmla="*/ 16047 h 4732077"/>
              <a:gd name="connsiteX3" fmla="*/ 2333223 w 2333223"/>
              <a:gd name="connsiteY3" fmla="*/ 2792444 h 4732077"/>
              <a:gd name="connsiteX4" fmla="*/ 1396541 w 2333223"/>
              <a:gd name="connsiteY4" fmla="*/ 4728983 h 4732077"/>
              <a:gd name="connsiteX5" fmla="*/ 1177 w 2333223"/>
              <a:gd name="connsiteY5" fmla="*/ 4732077 h 4732077"/>
              <a:gd name="connsiteX0" fmla="*/ 76 w 2332122"/>
              <a:gd name="connsiteY0" fmla="*/ 4716030 h 4716030"/>
              <a:gd name="connsiteX1" fmla="*/ 225247 w 2332122"/>
              <a:gd name="connsiteY1" fmla="*/ 954786 h 4716030"/>
              <a:gd name="connsiteX2" fmla="*/ 1436255 w 2332122"/>
              <a:gd name="connsiteY2" fmla="*/ 0 h 4716030"/>
              <a:gd name="connsiteX3" fmla="*/ 2332122 w 2332122"/>
              <a:gd name="connsiteY3" fmla="*/ 2776397 h 4716030"/>
              <a:gd name="connsiteX4" fmla="*/ 1395440 w 2332122"/>
              <a:gd name="connsiteY4" fmla="*/ 4712936 h 4716030"/>
              <a:gd name="connsiteX5" fmla="*/ 76 w 2332122"/>
              <a:gd name="connsiteY5" fmla="*/ 4716030 h 4716030"/>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1177 w 2333223"/>
              <a:gd name="connsiteY0" fmla="*/ 4716161 h 4716161"/>
              <a:gd name="connsiteX1" fmla="*/ 3712 w 2333223"/>
              <a:gd name="connsiteY1" fmla="*/ 0 h 4716161"/>
              <a:gd name="connsiteX2" fmla="*/ 1437356 w 2333223"/>
              <a:gd name="connsiteY2" fmla="*/ 131 h 4716161"/>
              <a:gd name="connsiteX3" fmla="*/ 2333223 w 2333223"/>
              <a:gd name="connsiteY3" fmla="*/ 2776528 h 4716161"/>
              <a:gd name="connsiteX4" fmla="*/ 1396541 w 2333223"/>
              <a:gd name="connsiteY4" fmla="*/ 4713067 h 4716161"/>
              <a:gd name="connsiteX5" fmla="*/ 1177 w 2333223"/>
              <a:gd name="connsiteY5" fmla="*/ 4716161 h 4716161"/>
              <a:gd name="connsiteX0" fmla="*/ 772 w 2340769"/>
              <a:gd name="connsiteY0" fmla="*/ 4708204 h 4713067"/>
              <a:gd name="connsiteX1" fmla="*/ 11258 w 2340769"/>
              <a:gd name="connsiteY1" fmla="*/ 0 h 4713067"/>
              <a:gd name="connsiteX2" fmla="*/ 1444902 w 2340769"/>
              <a:gd name="connsiteY2" fmla="*/ 131 h 4713067"/>
              <a:gd name="connsiteX3" fmla="*/ 2340769 w 2340769"/>
              <a:gd name="connsiteY3" fmla="*/ 2776528 h 4713067"/>
              <a:gd name="connsiteX4" fmla="*/ 1404087 w 2340769"/>
              <a:gd name="connsiteY4" fmla="*/ 4713067 h 4713067"/>
              <a:gd name="connsiteX5" fmla="*/ 772 w 2340769"/>
              <a:gd name="connsiteY5" fmla="*/ 4708204 h 4713067"/>
              <a:gd name="connsiteX0" fmla="*/ 772 w 2348721"/>
              <a:gd name="connsiteY0" fmla="*/ 4708204 h 4713067"/>
              <a:gd name="connsiteX1" fmla="*/ 11258 w 2348721"/>
              <a:gd name="connsiteY1" fmla="*/ 0 h 4713067"/>
              <a:gd name="connsiteX2" fmla="*/ 1444902 w 2348721"/>
              <a:gd name="connsiteY2" fmla="*/ 131 h 4713067"/>
              <a:gd name="connsiteX3" fmla="*/ 2348721 w 2348721"/>
              <a:gd name="connsiteY3" fmla="*/ 2808359 h 4713067"/>
              <a:gd name="connsiteX4" fmla="*/ 1404087 w 2348721"/>
              <a:gd name="connsiteY4" fmla="*/ 4713067 h 4713067"/>
              <a:gd name="connsiteX5" fmla="*/ 772 w 2348721"/>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04087 w 2360597"/>
              <a:gd name="connsiteY4" fmla="*/ 4713067 h 4713067"/>
              <a:gd name="connsiteX5" fmla="*/ 772 w 2360597"/>
              <a:gd name="connsiteY5" fmla="*/ 4708204 h 4713067"/>
              <a:gd name="connsiteX0" fmla="*/ 772 w 2360597"/>
              <a:gd name="connsiteY0" fmla="*/ 4708204 h 4713067"/>
              <a:gd name="connsiteX1" fmla="*/ 11258 w 2360597"/>
              <a:gd name="connsiteY1" fmla="*/ 0 h 4713067"/>
              <a:gd name="connsiteX2" fmla="*/ 1444902 w 2360597"/>
              <a:gd name="connsiteY2" fmla="*/ 131 h 4713067"/>
              <a:gd name="connsiteX3" fmla="*/ 2360597 w 2360597"/>
              <a:gd name="connsiteY3" fmla="*/ 2808359 h 4713067"/>
              <a:gd name="connsiteX4" fmla="*/ 1410025 w 2360597"/>
              <a:gd name="connsiteY4" fmla="*/ 4713067 h 4713067"/>
              <a:gd name="connsiteX5" fmla="*/ 772 w 2360597"/>
              <a:gd name="connsiteY5" fmla="*/ 4708204 h 4713067"/>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32835 w 2360597"/>
              <a:gd name="connsiteY4" fmla="*/ 4701183 h 4708204"/>
              <a:gd name="connsiteX5" fmla="*/ 772 w 2360597"/>
              <a:gd name="connsiteY5" fmla="*/ 4708204 h 4708204"/>
              <a:gd name="connsiteX0" fmla="*/ 772 w 2360597"/>
              <a:gd name="connsiteY0" fmla="*/ 4708204 h 4708204"/>
              <a:gd name="connsiteX1" fmla="*/ 11258 w 2360597"/>
              <a:gd name="connsiteY1" fmla="*/ 0 h 4708204"/>
              <a:gd name="connsiteX2" fmla="*/ 1444902 w 2360597"/>
              <a:gd name="connsiteY2" fmla="*/ 131 h 4708204"/>
              <a:gd name="connsiteX3" fmla="*/ 2360597 w 2360597"/>
              <a:gd name="connsiteY3" fmla="*/ 2808359 h 4708204"/>
              <a:gd name="connsiteX4" fmla="*/ 1380336 w 2360597"/>
              <a:gd name="connsiteY4" fmla="*/ 4701183 h 4708204"/>
              <a:gd name="connsiteX5" fmla="*/ 772 w 2360597"/>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08204"/>
              <a:gd name="connsiteX1" fmla="*/ 209 w 2361424"/>
              <a:gd name="connsiteY1" fmla="*/ 0 h 4708204"/>
              <a:gd name="connsiteX2" fmla="*/ 1445729 w 2361424"/>
              <a:gd name="connsiteY2" fmla="*/ 131 h 4708204"/>
              <a:gd name="connsiteX3" fmla="*/ 2361424 w 2361424"/>
              <a:gd name="connsiteY3" fmla="*/ 2808359 h 4708204"/>
              <a:gd name="connsiteX4" fmla="*/ 1381163 w 2361424"/>
              <a:gd name="connsiteY4" fmla="*/ 4701183 h 4708204"/>
              <a:gd name="connsiteX5" fmla="*/ 1599 w 2361424"/>
              <a:gd name="connsiteY5" fmla="*/ 4708204 h 4708204"/>
              <a:gd name="connsiteX0" fmla="*/ 1599 w 2361424"/>
              <a:gd name="connsiteY0" fmla="*/ 4708204 h 4713068"/>
              <a:gd name="connsiteX1" fmla="*/ 209 w 2361424"/>
              <a:gd name="connsiteY1" fmla="*/ 0 h 4713068"/>
              <a:gd name="connsiteX2" fmla="*/ 1445729 w 2361424"/>
              <a:gd name="connsiteY2" fmla="*/ 131 h 4713068"/>
              <a:gd name="connsiteX3" fmla="*/ 2361424 w 2361424"/>
              <a:gd name="connsiteY3" fmla="*/ 2808359 h 4713068"/>
              <a:gd name="connsiteX4" fmla="*/ 1387101 w 2361424"/>
              <a:gd name="connsiteY4" fmla="*/ 4713068 h 4713068"/>
              <a:gd name="connsiteX5" fmla="*/ 1599 w 2361424"/>
              <a:gd name="connsiteY5" fmla="*/ 4708204 h 4713068"/>
              <a:gd name="connsiteX0" fmla="*/ 1599 w 2319860"/>
              <a:gd name="connsiteY0" fmla="*/ 4708204 h 4713068"/>
              <a:gd name="connsiteX1" fmla="*/ 209 w 2319860"/>
              <a:gd name="connsiteY1" fmla="*/ 0 h 4713068"/>
              <a:gd name="connsiteX2" fmla="*/ 1445729 w 2319860"/>
              <a:gd name="connsiteY2" fmla="*/ 131 h 4713068"/>
              <a:gd name="connsiteX3" fmla="*/ 2319860 w 2319860"/>
              <a:gd name="connsiteY3" fmla="*/ 2808359 h 4713068"/>
              <a:gd name="connsiteX4" fmla="*/ 1387101 w 2319860"/>
              <a:gd name="connsiteY4" fmla="*/ 4713068 h 4713068"/>
              <a:gd name="connsiteX5" fmla="*/ 1599 w 2319860"/>
              <a:gd name="connsiteY5" fmla="*/ 4708204 h 4713068"/>
              <a:gd name="connsiteX0" fmla="*/ 1599 w 2141730"/>
              <a:gd name="connsiteY0" fmla="*/ 4708204 h 4713068"/>
              <a:gd name="connsiteX1" fmla="*/ 209 w 2141730"/>
              <a:gd name="connsiteY1" fmla="*/ 0 h 4713068"/>
              <a:gd name="connsiteX2" fmla="*/ 1445729 w 2141730"/>
              <a:gd name="connsiteY2" fmla="*/ 131 h 4713068"/>
              <a:gd name="connsiteX3" fmla="*/ 2141730 w 2141730"/>
              <a:gd name="connsiteY3" fmla="*/ 2808359 h 4713068"/>
              <a:gd name="connsiteX4" fmla="*/ 1387101 w 2141730"/>
              <a:gd name="connsiteY4" fmla="*/ 4713068 h 4713068"/>
              <a:gd name="connsiteX5" fmla="*/ 1599 w 2141730"/>
              <a:gd name="connsiteY5" fmla="*/ 4708204 h 4713068"/>
              <a:gd name="connsiteX0" fmla="*/ 1599 w 2337673"/>
              <a:gd name="connsiteY0" fmla="*/ 4708204 h 4713068"/>
              <a:gd name="connsiteX1" fmla="*/ 209 w 2337673"/>
              <a:gd name="connsiteY1" fmla="*/ 0 h 4713068"/>
              <a:gd name="connsiteX2" fmla="*/ 1445729 w 2337673"/>
              <a:gd name="connsiteY2" fmla="*/ 131 h 4713068"/>
              <a:gd name="connsiteX3" fmla="*/ 2337673 w 2337673"/>
              <a:gd name="connsiteY3" fmla="*/ 2808359 h 4713068"/>
              <a:gd name="connsiteX4" fmla="*/ 1387101 w 2337673"/>
              <a:gd name="connsiteY4" fmla="*/ 4713068 h 4713068"/>
              <a:gd name="connsiteX5" fmla="*/ 1599 w 2337673"/>
              <a:gd name="connsiteY5" fmla="*/ 4708204 h 4713068"/>
              <a:gd name="connsiteX0" fmla="*/ 1599 w 2337673"/>
              <a:gd name="connsiteY0" fmla="*/ 4726031 h 4726031"/>
              <a:gd name="connsiteX1" fmla="*/ 209 w 2337673"/>
              <a:gd name="connsiteY1" fmla="*/ 0 h 4726031"/>
              <a:gd name="connsiteX2" fmla="*/ 1445729 w 2337673"/>
              <a:gd name="connsiteY2" fmla="*/ 131 h 4726031"/>
              <a:gd name="connsiteX3" fmla="*/ 2337673 w 2337673"/>
              <a:gd name="connsiteY3" fmla="*/ 2808359 h 4726031"/>
              <a:gd name="connsiteX4" fmla="*/ 1387101 w 2337673"/>
              <a:gd name="connsiteY4" fmla="*/ 4713068 h 4726031"/>
              <a:gd name="connsiteX5" fmla="*/ 1599 w 2337673"/>
              <a:gd name="connsiteY5" fmla="*/ 4726031 h 4726031"/>
              <a:gd name="connsiteX0" fmla="*/ 1038 w 2343050"/>
              <a:gd name="connsiteY0" fmla="*/ 4731974 h 4731974"/>
              <a:gd name="connsiteX1" fmla="*/ 5586 w 2343050"/>
              <a:gd name="connsiteY1" fmla="*/ 0 h 4731974"/>
              <a:gd name="connsiteX2" fmla="*/ 1451106 w 2343050"/>
              <a:gd name="connsiteY2" fmla="*/ 131 h 4731974"/>
              <a:gd name="connsiteX3" fmla="*/ 2343050 w 2343050"/>
              <a:gd name="connsiteY3" fmla="*/ 2808359 h 4731974"/>
              <a:gd name="connsiteX4" fmla="*/ 1392478 w 2343050"/>
              <a:gd name="connsiteY4" fmla="*/ 4713068 h 4731974"/>
              <a:gd name="connsiteX5" fmla="*/ 1038 w 2343050"/>
              <a:gd name="connsiteY5" fmla="*/ 4731974 h 4731974"/>
              <a:gd name="connsiteX0" fmla="*/ 758 w 2349120"/>
              <a:gd name="connsiteY0" fmla="*/ 4719264 h 4719264"/>
              <a:gd name="connsiteX1" fmla="*/ 11656 w 2349120"/>
              <a:gd name="connsiteY1" fmla="*/ 0 h 4719264"/>
              <a:gd name="connsiteX2" fmla="*/ 1457176 w 2349120"/>
              <a:gd name="connsiteY2" fmla="*/ 131 h 4719264"/>
              <a:gd name="connsiteX3" fmla="*/ 2349120 w 2349120"/>
              <a:gd name="connsiteY3" fmla="*/ 2808359 h 4719264"/>
              <a:gd name="connsiteX4" fmla="*/ 1398548 w 2349120"/>
              <a:gd name="connsiteY4" fmla="*/ 4713068 h 4719264"/>
              <a:gd name="connsiteX5" fmla="*/ 758 w 2349120"/>
              <a:gd name="connsiteY5" fmla="*/ 4719264 h 4719264"/>
              <a:gd name="connsiteX0" fmla="*/ 4625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46252 w 2337464"/>
              <a:gd name="connsiteY5" fmla="*/ 4719264 h 4719264"/>
              <a:gd name="connsiteX0" fmla="*/ 1802 w 2337464"/>
              <a:gd name="connsiteY0" fmla="*/ 4719264 h 4719264"/>
              <a:gd name="connsiteX1" fmla="*/ 0 w 2337464"/>
              <a:gd name="connsiteY1" fmla="*/ 0 h 4719264"/>
              <a:gd name="connsiteX2" fmla="*/ 1445520 w 2337464"/>
              <a:gd name="connsiteY2" fmla="*/ 131 h 4719264"/>
              <a:gd name="connsiteX3" fmla="*/ 2337464 w 2337464"/>
              <a:gd name="connsiteY3" fmla="*/ 2808359 h 4719264"/>
              <a:gd name="connsiteX4" fmla="*/ 1386892 w 2337464"/>
              <a:gd name="connsiteY4" fmla="*/ 4713068 h 4719264"/>
              <a:gd name="connsiteX5" fmla="*/ 1802 w 2337464"/>
              <a:gd name="connsiteY5" fmla="*/ 4719264 h 4719264"/>
              <a:gd name="connsiteX0" fmla="*/ 1802 w 2337464"/>
              <a:gd name="connsiteY0" fmla="*/ 4725619 h 4725619"/>
              <a:gd name="connsiteX1" fmla="*/ 0 w 2337464"/>
              <a:gd name="connsiteY1" fmla="*/ 0 h 4725619"/>
              <a:gd name="connsiteX2" fmla="*/ 1445520 w 2337464"/>
              <a:gd name="connsiteY2" fmla="*/ 131 h 4725619"/>
              <a:gd name="connsiteX3" fmla="*/ 2337464 w 2337464"/>
              <a:gd name="connsiteY3" fmla="*/ 2808359 h 4725619"/>
              <a:gd name="connsiteX4" fmla="*/ 1386892 w 2337464"/>
              <a:gd name="connsiteY4" fmla="*/ 4713068 h 4725619"/>
              <a:gd name="connsiteX5" fmla="*/ 1802 w 2337464"/>
              <a:gd name="connsiteY5" fmla="*/ 4725619 h 4725619"/>
              <a:gd name="connsiteX0" fmla="*/ 1802 w 2337464"/>
              <a:gd name="connsiteY0" fmla="*/ 4712909 h 4713068"/>
              <a:gd name="connsiteX1" fmla="*/ 0 w 2337464"/>
              <a:gd name="connsiteY1" fmla="*/ 0 h 4713068"/>
              <a:gd name="connsiteX2" fmla="*/ 1445520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37464"/>
              <a:gd name="connsiteY0" fmla="*/ 4712909 h 4713068"/>
              <a:gd name="connsiteX1" fmla="*/ 0 w 2337464"/>
              <a:gd name="connsiteY1" fmla="*/ 0 h 4713068"/>
              <a:gd name="connsiteX2" fmla="*/ 1459807 w 2337464"/>
              <a:gd name="connsiteY2" fmla="*/ 131 h 4713068"/>
              <a:gd name="connsiteX3" fmla="*/ 2337464 w 2337464"/>
              <a:gd name="connsiteY3" fmla="*/ 2808359 h 4713068"/>
              <a:gd name="connsiteX4" fmla="*/ 1386892 w 2337464"/>
              <a:gd name="connsiteY4" fmla="*/ 4713068 h 4713068"/>
              <a:gd name="connsiteX5" fmla="*/ 1802 w 2337464"/>
              <a:gd name="connsiteY5" fmla="*/ 4712909 h 4713068"/>
              <a:gd name="connsiteX0" fmla="*/ 1802 w 2349370"/>
              <a:gd name="connsiteY0" fmla="*/ 4712909 h 4713068"/>
              <a:gd name="connsiteX1" fmla="*/ 0 w 2349370"/>
              <a:gd name="connsiteY1" fmla="*/ 0 h 4713068"/>
              <a:gd name="connsiteX2" fmla="*/ 1459807 w 2349370"/>
              <a:gd name="connsiteY2" fmla="*/ 131 h 4713068"/>
              <a:gd name="connsiteX3" fmla="*/ 2349370 w 2349370"/>
              <a:gd name="connsiteY3" fmla="*/ 2808359 h 4713068"/>
              <a:gd name="connsiteX4" fmla="*/ 1386892 w 2349370"/>
              <a:gd name="connsiteY4" fmla="*/ 4713068 h 4713068"/>
              <a:gd name="connsiteX5" fmla="*/ 1802 w 2349370"/>
              <a:gd name="connsiteY5" fmla="*/ 4712909 h 4713068"/>
              <a:gd name="connsiteX0" fmla="*/ 1802 w 2349370"/>
              <a:gd name="connsiteY0" fmla="*/ 4712909 h 4722406"/>
              <a:gd name="connsiteX1" fmla="*/ 0 w 2349370"/>
              <a:gd name="connsiteY1" fmla="*/ 0 h 4722406"/>
              <a:gd name="connsiteX2" fmla="*/ 1459807 w 2349370"/>
              <a:gd name="connsiteY2" fmla="*/ 131 h 4722406"/>
              <a:gd name="connsiteX3" fmla="*/ 2349370 w 2349370"/>
              <a:gd name="connsiteY3" fmla="*/ 2808359 h 4722406"/>
              <a:gd name="connsiteX4" fmla="*/ 1372896 w 2349370"/>
              <a:gd name="connsiteY4" fmla="*/ 4722406 h 4722406"/>
              <a:gd name="connsiteX5" fmla="*/ 1802 w 2349370"/>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72896 w 2330709"/>
              <a:gd name="connsiteY4" fmla="*/ 4722406 h 4722406"/>
              <a:gd name="connsiteX5" fmla="*/ 1802 w 2330709"/>
              <a:gd name="connsiteY5" fmla="*/ 4712909 h 4722406"/>
              <a:gd name="connsiteX0" fmla="*/ 1802 w 2330709"/>
              <a:gd name="connsiteY0" fmla="*/ 4712909 h 4722406"/>
              <a:gd name="connsiteX1" fmla="*/ 0 w 2330709"/>
              <a:gd name="connsiteY1" fmla="*/ 0 h 4722406"/>
              <a:gd name="connsiteX2" fmla="*/ 1459807 w 2330709"/>
              <a:gd name="connsiteY2" fmla="*/ 131 h 4722406"/>
              <a:gd name="connsiteX3" fmla="*/ 2330709 w 2330709"/>
              <a:gd name="connsiteY3" fmla="*/ 2775677 h 4722406"/>
              <a:gd name="connsiteX4" fmla="*/ 1368231 w 2330709"/>
              <a:gd name="connsiteY4" fmla="*/ 4722406 h 4722406"/>
              <a:gd name="connsiteX5" fmla="*/ 1802 w 2330709"/>
              <a:gd name="connsiteY5" fmla="*/ 4712909 h 4722406"/>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75677 h 4717737"/>
              <a:gd name="connsiteX4" fmla="*/ 1377562 w 2330709"/>
              <a:gd name="connsiteY4" fmla="*/ 4717737 h 4717737"/>
              <a:gd name="connsiteX5" fmla="*/ 1802 w 2330709"/>
              <a:gd name="connsiteY5" fmla="*/ 4712909 h 4717737"/>
              <a:gd name="connsiteX0" fmla="*/ 1802 w 2330709"/>
              <a:gd name="connsiteY0" fmla="*/ 4712909 h 4717737"/>
              <a:gd name="connsiteX1" fmla="*/ 0 w 2330709"/>
              <a:gd name="connsiteY1" fmla="*/ 0 h 4717737"/>
              <a:gd name="connsiteX2" fmla="*/ 1459807 w 2330709"/>
              <a:gd name="connsiteY2" fmla="*/ 131 h 4717737"/>
              <a:gd name="connsiteX3" fmla="*/ 2330709 w 2330709"/>
              <a:gd name="connsiteY3" fmla="*/ 2789685 h 4717737"/>
              <a:gd name="connsiteX4" fmla="*/ 1377562 w 2330709"/>
              <a:gd name="connsiteY4" fmla="*/ 4717737 h 4717737"/>
              <a:gd name="connsiteX5" fmla="*/ 1802 w 2330709"/>
              <a:gd name="connsiteY5" fmla="*/ 4712909 h 4717737"/>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93419 w 2330709"/>
              <a:gd name="connsiteY4" fmla="*/ 4723026 h 4723026"/>
              <a:gd name="connsiteX5" fmla="*/ 1802 w 2330709"/>
              <a:gd name="connsiteY5" fmla="*/ 4712909 h 4723026"/>
              <a:gd name="connsiteX0" fmla="*/ 1802 w 2330709"/>
              <a:gd name="connsiteY0" fmla="*/ 4712909 h 4723026"/>
              <a:gd name="connsiteX1" fmla="*/ 0 w 2330709"/>
              <a:gd name="connsiteY1" fmla="*/ 0 h 4723026"/>
              <a:gd name="connsiteX2" fmla="*/ 1459807 w 2330709"/>
              <a:gd name="connsiteY2" fmla="*/ 131 h 4723026"/>
              <a:gd name="connsiteX3" fmla="*/ 2330709 w 2330709"/>
              <a:gd name="connsiteY3" fmla="*/ 2789685 h 4723026"/>
              <a:gd name="connsiteX4" fmla="*/ 1366992 w 2330709"/>
              <a:gd name="connsiteY4" fmla="*/ 4723026 h 4723026"/>
              <a:gd name="connsiteX5" fmla="*/ 1802 w 2330709"/>
              <a:gd name="connsiteY5" fmla="*/ 4712909 h 4723026"/>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2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1 w 2335299"/>
              <a:gd name="connsiteY4" fmla="*/ 4723026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55725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61010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1581 w 2335299"/>
              <a:gd name="connsiteY4" fmla="*/ 4717729 h 4723504"/>
              <a:gd name="connsiteX5" fmla="*/ 1107 w 2335299"/>
              <a:gd name="connsiteY5" fmla="*/ 4723504 h 4723504"/>
              <a:gd name="connsiteX0" fmla="*/ 1107 w 2335299"/>
              <a:gd name="connsiteY0" fmla="*/ 4723504 h 4723504"/>
              <a:gd name="connsiteX1" fmla="*/ 4590 w 2335299"/>
              <a:gd name="connsiteY1" fmla="*/ 0 h 4723504"/>
              <a:gd name="connsiteX2" fmla="*/ 1464397 w 2335299"/>
              <a:gd name="connsiteY2" fmla="*/ 131 h 4723504"/>
              <a:gd name="connsiteX3" fmla="*/ 2335299 w 2335299"/>
              <a:gd name="connsiteY3" fmla="*/ 2789685 h 4723504"/>
              <a:gd name="connsiteX4" fmla="*/ 1376866 w 2335299"/>
              <a:gd name="connsiteY4" fmla="*/ 4723026 h 4723504"/>
              <a:gd name="connsiteX5" fmla="*/ 1107 w 2335299"/>
              <a:gd name="connsiteY5" fmla="*/ 4723504 h 4723504"/>
              <a:gd name="connsiteX0" fmla="*/ 1107 w 2433490"/>
              <a:gd name="connsiteY0" fmla="*/ 4723504 h 4723504"/>
              <a:gd name="connsiteX1" fmla="*/ 4590 w 2433490"/>
              <a:gd name="connsiteY1" fmla="*/ 0 h 4723504"/>
              <a:gd name="connsiteX2" fmla="*/ 1464397 w 2433490"/>
              <a:gd name="connsiteY2" fmla="*/ 131 h 4723504"/>
              <a:gd name="connsiteX3" fmla="*/ 2433490 w 2433490"/>
              <a:gd name="connsiteY3" fmla="*/ 2838891 h 4723504"/>
              <a:gd name="connsiteX4" fmla="*/ 1376866 w 2433490"/>
              <a:gd name="connsiteY4" fmla="*/ 4723026 h 4723504"/>
              <a:gd name="connsiteX5" fmla="*/ 1107 w 2433490"/>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7384 h 4723504"/>
              <a:gd name="connsiteX4" fmla="*/ 1376866 w 2329163"/>
              <a:gd name="connsiteY4" fmla="*/ 4723026 h 4723504"/>
              <a:gd name="connsiteX5" fmla="*/ 1107 w 2329163"/>
              <a:gd name="connsiteY5" fmla="*/ 4723504 h 4723504"/>
              <a:gd name="connsiteX0" fmla="*/ 1107 w 2396669"/>
              <a:gd name="connsiteY0" fmla="*/ 4723504 h 4723504"/>
              <a:gd name="connsiteX1" fmla="*/ 4590 w 2396669"/>
              <a:gd name="connsiteY1" fmla="*/ 0 h 4723504"/>
              <a:gd name="connsiteX2" fmla="*/ 1464397 w 2396669"/>
              <a:gd name="connsiteY2" fmla="*/ 131 h 4723504"/>
              <a:gd name="connsiteX3" fmla="*/ 2396669 w 2396669"/>
              <a:gd name="connsiteY3" fmla="*/ 2792760 h 4723504"/>
              <a:gd name="connsiteX4" fmla="*/ 1376866 w 2396669"/>
              <a:gd name="connsiteY4" fmla="*/ 4723026 h 4723504"/>
              <a:gd name="connsiteX5" fmla="*/ 1107 w 2396669"/>
              <a:gd name="connsiteY5" fmla="*/ 4723504 h 4723504"/>
              <a:gd name="connsiteX0" fmla="*/ 1107 w 2329163"/>
              <a:gd name="connsiteY0" fmla="*/ 4723504 h 4723504"/>
              <a:gd name="connsiteX1" fmla="*/ 4590 w 2329163"/>
              <a:gd name="connsiteY1" fmla="*/ 0 h 4723504"/>
              <a:gd name="connsiteX2" fmla="*/ 1464397 w 2329163"/>
              <a:gd name="connsiteY2" fmla="*/ 131 h 4723504"/>
              <a:gd name="connsiteX3" fmla="*/ 2329163 w 2329163"/>
              <a:gd name="connsiteY3" fmla="*/ 2774308 h 4723504"/>
              <a:gd name="connsiteX4" fmla="*/ 1376866 w 2329163"/>
              <a:gd name="connsiteY4" fmla="*/ 4723026 h 4723504"/>
              <a:gd name="connsiteX5" fmla="*/ 1107 w 2329163"/>
              <a:gd name="connsiteY5" fmla="*/ 4723504 h 4723504"/>
              <a:gd name="connsiteX0" fmla="*/ 1107 w 2562366"/>
              <a:gd name="connsiteY0" fmla="*/ 4723504 h 4723504"/>
              <a:gd name="connsiteX1" fmla="*/ 4590 w 2562366"/>
              <a:gd name="connsiteY1" fmla="*/ 0 h 4723504"/>
              <a:gd name="connsiteX2" fmla="*/ 1464397 w 2562366"/>
              <a:gd name="connsiteY2" fmla="*/ 131 h 4723504"/>
              <a:gd name="connsiteX3" fmla="*/ 2562366 w 2562366"/>
              <a:gd name="connsiteY3" fmla="*/ 2841966 h 4723504"/>
              <a:gd name="connsiteX4" fmla="*/ 1376866 w 2562366"/>
              <a:gd name="connsiteY4" fmla="*/ 4723026 h 4723504"/>
              <a:gd name="connsiteX5" fmla="*/ 1107 w 2562366"/>
              <a:gd name="connsiteY5" fmla="*/ 4723504 h 4723504"/>
              <a:gd name="connsiteX0" fmla="*/ 1107 w 2326095"/>
              <a:gd name="connsiteY0" fmla="*/ 4723504 h 4723504"/>
              <a:gd name="connsiteX1" fmla="*/ 4590 w 2326095"/>
              <a:gd name="connsiteY1" fmla="*/ 0 h 4723504"/>
              <a:gd name="connsiteX2" fmla="*/ 1464397 w 2326095"/>
              <a:gd name="connsiteY2" fmla="*/ 131 h 4723504"/>
              <a:gd name="connsiteX3" fmla="*/ 2326095 w 2326095"/>
              <a:gd name="connsiteY3" fmla="*/ 2777383 h 4723504"/>
              <a:gd name="connsiteX4" fmla="*/ 1376866 w 2326095"/>
              <a:gd name="connsiteY4" fmla="*/ 4723026 h 4723504"/>
              <a:gd name="connsiteX5" fmla="*/ 1107 w 2326095"/>
              <a:gd name="connsiteY5" fmla="*/ 4723504 h 472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6095" h="4723504">
                <a:moveTo>
                  <a:pt x="1107" y="4723504"/>
                </a:moveTo>
                <a:cubicBezTo>
                  <a:pt x="-3804" y="3148633"/>
                  <a:pt x="9501" y="1574871"/>
                  <a:pt x="4590" y="0"/>
                </a:cubicBezTo>
                <a:lnTo>
                  <a:pt x="1464397" y="131"/>
                </a:lnTo>
                <a:lnTo>
                  <a:pt x="2326095" y="2777383"/>
                </a:lnTo>
                <a:lnTo>
                  <a:pt x="1376866" y="4723026"/>
                </a:lnTo>
                <a:lnTo>
                  <a:pt x="1107" y="4723504"/>
                </a:lnTo>
                <a:close/>
              </a:path>
            </a:pathLst>
          </a:custGeom>
        </p:spPr>
        <p:txBody>
          <a:bodyPr anchor="ctr"/>
          <a:lstStyle>
            <a:lvl1pPr algn="ctr">
              <a:defRPr/>
            </a:lvl1pPr>
          </a:lstStyle>
          <a:p>
            <a:endParaRPr lang="en-US" dirty="0"/>
          </a:p>
        </p:txBody>
      </p:sp>
      <p:sp>
        <p:nvSpPr>
          <p:cNvPr id="16" name="Rechteck 15"/>
          <p:cNvSpPr/>
          <p:nvPr userDrawn="1"/>
        </p:nvSpPr>
        <p:spPr>
          <a:xfrm>
            <a:off x="2339752" y="1368000"/>
            <a:ext cx="6804248"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uppieren 17"/>
          <p:cNvGrpSpPr/>
          <p:nvPr userDrawn="1"/>
        </p:nvGrpSpPr>
        <p:grpSpPr>
          <a:xfrm>
            <a:off x="2470150" y="4922730"/>
            <a:ext cx="6423024" cy="138036"/>
            <a:chOff x="2470150" y="4922730"/>
            <a:chExt cx="6423024" cy="138036"/>
          </a:xfrm>
        </p:grpSpPr>
        <p:sp>
          <p:nvSpPr>
            <p:cNvPr id="19"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20"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
        <p:nvSpPr>
          <p:cNvPr id="3" name="Datumsplatzhalter 2"/>
          <p:cNvSpPr>
            <a:spLocks noGrp="1"/>
          </p:cNvSpPr>
          <p:nvPr userDrawn="1">
            <p:ph type="dt" sz="half" idx="10"/>
          </p:nvPr>
        </p:nvSpPr>
        <p:spPr/>
        <p:txBody>
          <a:bodyPr/>
          <a:lstStyle>
            <a:lvl1pPr>
              <a:defRPr>
                <a:solidFill>
                  <a:schemeClr val="bg1"/>
                </a:solidFill>
              </a:defRPr>
            </a:lvl1pPr>
          </a:lstStyle>
          <a:p>
            <a:fld id="{01C9B80A-7BE0-4538-9A16-E9BE6396CC02}" type="datetime1">
              <a:rPr lang="en-US" smtClean="0"/>
              <a:t>1/26/2018</a:t>
            </a:fld>
            <a:endParaRPr lang="en-US" dirty="0"/>
          </a:p>
        </p:txBody>
      </p:sp>
      <p:sp>
        <p:nvSpPr>
          <p:cNvPr id="4" name="Fußzeilenplatzhalter 3"/>
          <p:cNvSpPr>
            <a:spLocks noGrp="1"/>
          </p:cNvSpPr>
          <p:nvPr userDrawn="1">
            <p:ph type="ftr" sz="quarter" idx="11"/>
          </p:nvPr>
        </p:nvSpPr>
        <p:spPr/>
        <p:txBody>
          <a:bodyPr/>
          <a:lstStyle>
            <a:lvl1pPr>
              <a:defRPr>
                <a:solidFill>
                  <a:schemeClr val="bg1"/>
                </a:solidFill>
              </a:defRPr>
            </a:lvl1pPr>
          </a:lstStyle>
          <a:p>
            <a:r>
              <a:rPr lang="de-DE"/>
              <a:t>ASM Assembly Systems</a:t>
            </a:r>
            <a:endParaRPr lang="en-US" dirty="0"/>
          </a:p>
        </p:txBody>
      </p:sp>
      <p:sp>
        <p:nvSpPr>
          <p:cNvPr id="5" name="Foliennummernplatzhalter 4"/>
          <p:cNvSpPr>
            <a:spLocks noGrp="1"/>
          </p:cNvSpPr>
          <p:nvPr userDrawn="1">
            <p:ph type="sldNum" sz="quarter" idx="12"/>
          </p:nvPr>
        </p:nvSpPr>
        <p:spPr/>
        <p:txBody>
          <a:bodyPr/>
          <a:lstStyle>
            <a:lvl1pPr>
              <a:defRPr>
                <a:solidFill>
                  <a:schemeClr val="bg1"/>
                </a:solidFill>
              </a:defRPr>
            </a:lvl1pPr>
          </a:lstStyle>
          <a:p>
            <a:r>
              <a:rPr lang="en-US" dirty="0"/>
              <a:t>Page </a:t>
            </a:r>
            <a:fld id="{9204330F-C5AD-4AC0-88A8-9CB1F8F7EBD6}" type="slidenum">
              <a:rPr lang="en-US" smtClean="0"/>
              <a:pPr/>
              <a:t>‹Nr.›</a:t>
            </a:fld>
            <a:endParaRPr lang="en-US" dirty="0"/>
          </a:p>
        </p:txBody>
      </p:sp>
      <p:sp>
        <p:nvSpPr>
          <p:cNvPr id="7" name="Textplatzhalter 6"/>
          <p:cNvSpPr>
            <a:spLocks noGrp="1"/>
          </p:cNvSpPr>
          <p:nvPr userDrawn="1">
            <p:ph type="body" sz="quarter" idx="13"/>
          </p:nvPr>
        </p:nvSpPr>
        <p:spPr>
          <a:xfrm>
            <a:off x="3204000" y="2066400"/>
            <a:ext cx="5688000" cy="2736000"/>
          </a:xfrm>
        </p:spPr>
        <p:txBody>
          <a:bodyPr>
            <a:normAutofit/>
          </a:bodyPr>
          <a:lstStyle>
            <a:lvl1pPr>
              <a:defRPr sz="1600">
                <a:solidFill>
                  <a:schemeClr val="bg1"/>
                </a:solidFill>
              </a:defRPr>
            </a:lvl1pPr>
            <a:lvl2pP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p:cNvSpPr>
            <a:spLocks noGrp="1"/>
          </p:cNvSpPr>
          <p:nvPr userDrawn="1">
            <p:ph type="title"/>
          </p:nvPr>
        </p:nvSpPr>
        <p:spPr>
          <a:gradFill>
            <a:gsLst>
              <a:gs pos="0">
                <a:schemeClr val="bg1"/>
              </a:gs>
              <a:gs pos="86000">
                <a:srgbClr val="FFFFFF">
                  <a:alpha val="63000"/>
                </a:srgbClr>
              </a:gs>
              <a:gs pos="100000">
                <a:schemeClr val="bg1">
                  <a:alpha val="1000"/>
                </a:schemeClr>
              </a:gs>
              <a:gs pos="0">
                <a:schemeClr val="bg1">
                  <a:alpha val="90000"/>
                </a:schemeClr>
              </a:gs>
            </a:gsLst>
            <a:lin ang="5400000" scaled="0"/>
          </a:gradFill>
        </p:spPr>
        <p:txBody>
          <a:bodyPr vert="horz" lIns="324000" tIns="45720" rIns="91440" bIns="45720" rtlCol="0" anchor="ctr">
            <a:normAutofit/>
          </a:bodyPr>
          <a:lstStyle>
            <a:lvl1pPr>
              <a:defRPr lang="en-US" dirty="0"/>
            </a:lvl1pPr>
          </a:lstStyle>
          <a:p>
            <a:pPr lvl="0"/>
            <a:r>
              <a:rPr lang="de-DE" dirty="0"/>
              <a:t>Titelmasterformat durch Klicken bearbeiten</a:t>
            </a:r>
            <a:endParaRPr lang="en-US" dirty="0"/>
          </a:p>
        </p:txBody>
      </p:sp>
      <p:sp>
        <p:nvSpPr>
          <p:cNvPr id="22" name="Freihandform 21"/>
          <p:cNvSpPr>
            <a:spLocks noChangeAspect="1"/>
          </p:cNvSpPr>
          <p:nvPr userDrawn="1"/>
        </p:nvSpPr>
        <p:spPr>
          <a:xfrm>
            <a:off x="1367652" y="1368004"/>
            <a:ext cx="1015445" cy="3776399"/>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100012 w 1014952"/>
              <a:gd name="connsiteY7" fmla="*/ 0 h 4710113"/>
              <a:gd name="connsiteX0" fmla="*/ 100012 w 1014952"/>
              <a:gd name="connsiteY0" fmla="*/ 0 h 4710113"/>
              <a:gd name="connsiteX1" fmla="*/ 885825 w 1014952"/>
              <a:gd name="connsiteY1" fmla="*/ 0 h 4710113"/>
              <a:gd name="connsiteX2" fmla="*/ 1014412 w 1014952"/>
              <a:gd name="connsiteY2" fmla="*/ 0 h 4710113"/>
              <a:gd name="connsiteX3" fmla="*/ 1014952 w 1014952"/>
              <a:gd name="connsiteY3" fmla="*/ 930323 h 4710113"/>
              <a:gd name="connsiteX4" fmla="*/ 1014412 w 1014952"/>
              <a:gd name="connsiteY4" fmla="*/ 4710113 h 4710113"/>
              <a:gd name="connsiteX5" fmla="*/ 0 w 1014952"/>
              <a:gd name="connsiteY5" fmla="*/ 4710113 h 4710113"/>
              <a:gd name="connsiteX6" fmla="*/ 952500 w 1014952"/>
              <a:gd name="connsiteY6" fmla="*/ 2776538 h 4710113"/>
              <a:gd name="connsiteX7" fmla="*/ 386827 w 1014952"/>
              <a:gd name="connsiteY7" fmla="*/ 930323 h 4710113"/>
              <a:gd name="connsiteX8" fmla="*/ 100012 w 1014952"/>
              <a:gd name="connsiteY8" fmla="*/ 0 h 4710113"/>
              <a:gd name="connsiteX0" fmla="*/ 100012 w 1014952"/>
              <a:gd name="connsiteY0" fmla="*/ 0 h 4710113"/>
              <a:gd name="connsiteX1" fmla="*/ 885825 w 1014952"/>
              <a:gd name="connsiteY1" fmla="*/ 0 h 4710113"/>
              <a:gd name="connsiteX2" fmla="*/ 1014952 w 1014952"/>
              <a:gd name="connsiteY2" fmla="*/ 930323 h 4710113"/>
              <a:gd name="connsiteX3" fmla="*/ 1014412 w 1014952"/>
              <a:gd name="connsiteY3" fmla="*/ 4710113 h 4710113"/>
              <a:gd name="connsiteX4" fmla="*/ 0 w 1014952"/>
              <a:gd name="connsiteY4" fmla="*/ 4710113 h 4710113"/>
              <a:gd name="connsiteX5" fmla="*/ 952500 w 1014952"/>
              <a:gd name="connsiteY5" fmla="*/ 2776538 h 4710113"/>
              <a:gd name="connsiteX6" fmla="*/ 386827 w 1014952"/>
              <a:gd name="connsiteY6" fmla="*/ 930323 h 4710113"/>
              <a:gd name="connsiteX7" fmla="*/ 100012 w 1014952"/>
              <a:gd name="connsiteY7" fmla="*/ 0 h 4710113"/>
              <a:gd name="connsiteX0" fmla="*/ 100012 w 1014952"/>
              <a:gd name="connsiteY0" fmla="*/ 0 h 4710113"/>
              <a:gd name="connsiteX1" fmla="*/ 1014952 w 1014952"/>
              <a:gd name="connsiteY1" fmla="*/ 930323 h 4710113"/>
              <a:gd name="connsiteX2" fmla="*/ 1014412 w 1014952"/>
              <a:gd name="connsiteY2" fmla="*/ 4710113 h 4710113"/>
              <a:gd name="connsiteX3" fmla="*/ 0 w 1014952"/>
              <a:gd name="connsiteY3" fmla="*/ 4710113 h 4710113"/>
              <a:gd name="connsiteX4" fmla="*/ 952500 w 1014952"/>
              <a:gd name="connsiteY4" fmla="*/ 2776538 h 4710113"/>
              <a:gd name="connsiteX5" fmla="*/ 386827 w 1014952"/>
              <a:gd name="connsiteY5" fmla="*/ 930323 h 4710113"/>
              <a:gd name="connsiteX6" fmla="*/ 100012 w 1014952"/>
              <a:gd name="connsiteY6" fmla="*/ 0 h 4710113"/>
              <a:gd name="connsiteX0" fmla="*/ 386827 w 1014952"/>
              <a:gd name="connsiteY0" fmla="*/ 0 h 3779790"/>
              <a:gd name="connsiteX1" fmla="*/ 1014952 w 1014952"/>
              <a:gd name="connsiteY1" fmla="*/ 0 h 3779790"/>
              <a:gd name="connsiteX2" fmla="*/ 1014412 w 1014952"/>
              <a:gd name="connsiteY2" fmla="*/ 3779790 h 3779790"/>
              <a:gd name="connsiteX3" fmla="*/ 0 w 1014952"/>
              <a:gd name="connsiteY3" fmla="*/ 3779790 h 3779790"/>
              <a:gd name="connsiteX4" fmla="*/ 952500 w 1014952"/>
              <a:gd name="connsiteY4" fmla="*/ 1846215 h 3779790"/>
              <a:gd name="connsiteX5" fmla="*/ 386827 w 1014952"/>
              <a:gd name="connsiteY5" fmla="*/ 0 h 377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4952" h="3779790">
                <a:moveTo>
                  <a:pt x="386827" y="0"/>
                </a:moveTo>
                <a:lnTo>
                  <a:pt x="1014952" y="0"/>
                </a:lnTo>
                <a:lnTo>
                  <a:pt x="1014412" y="3779790"/>
                </a:lnTo>
                <a:lnTo>
                  <a:pt x="0" y="3779790"/>
                </a:lnTo>
                <a:lnTo>
                  <a:pt x="952500" y="1846215"/>
                </a:lnTo>
                <a:lnTo>
                  <a:pt x="38682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Tree>
    <p:extLst>
      <p:ext uri="{BB962C8B-B14F-4D97-AF65-F5344CB8AC3E}">
        <p14:creationId xmlns:p14="http://schemas.microsoft.com/office/powerpoint/2010/main" val="25135553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ser_1 Text Container_Benefits">
    <p:spTree>
      <p:nvGrpSpPr>
        <p:cNvPr id="1" name=""/>
        <p:cNvGrpSpPr/>
        <p:nvPr/>
      </p:nvGrpSpPr>
      <p:grpSpPr>
        <a:xfrm>
          <a:off x="0" y="0"/>
          <a:ext cx="0" cy="0"/>
          <a:chOff x="0" y="0"/>
          <a:chExt cx="0" cy="0"/>
        </a:xfrm>
      </p:grpSpPr>
      <p:grpSp>
        <p:nvGrpSpPr>
          <p:cNvPr id="8" name="Gruppieren 7"/>
          <p:cNvGrpSpPr/>
          <p:nvPr userDrawn="1"/>
        </p:nvGrpSpPr>
        <p:grpSpPr>
          <a:xfrm>
            <a:off x="0" y="1368000"/>
            <a:ext cx="9144000" cy="3775500"/>
            <a:chOff x="0" y="1368000"/>
            <a:chExt cx="9144000" cy="3775500"/>
          </a:xfrm>
        </p:grpSpPr>
        <p:sp>
          <p:nvSpPr>
            <p:cNvPr id="7" name="Rechteck 6"/>
            <p:cNvSpPr/>
            <p:nvPr userDrawn="1"/>
          </p:nvSpPr>
          <p:spPr>
            <a:xfrm>
              <a:off x="0" y="1368000"/>
              <a:ext cx="9144000" cy="3775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uppieren 18"/>
            <p:cNvGrpSpPr/>
            <p:nvPr userDrawn="1"/>
          </p:nvGrpSpPr>
          <p:grpSpPr>
            <a:xfrm>
              <a:off x="2470150" y="4922730"/>
              <a:ext cx="6423024" cy="138036"/>
              <a:chOff x="2470150" y="4922730"/>
              <a:chExt cx="6423024" cy="138036"/>
            </a:xfrm>
          </p:grpSpPr>
          <p:sp>
            <p:nvSpPr>
              <p:cNvPr id="20" name="Line 8"/>
              <p:cNvSpPr>
                <a:spLocks noChangeShapeType="1"/>
              </p:cNvSpPr>
              <p:nvPr/>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21" name="Line 8"/>
              <p:cNvSpPr>
                <a:spLocks noChangeShapeType="1"/>
              </p:cNvSpPr>
              <p:nvPr/>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grpSp>
      <p:sp>
        <p:nvSpPr>
          <p:cNvPr id="2" name="Titel 1"/>
          <p:cNvSpPr>
            <a:spLocks noGrp="1"/>
          </p:cNvSpPr>
          <p:nvPr>
            <p:ph type="title"/>
          </p:nvPr>
        </p:nvSpPr>
        <p:spPr>
          <a:solidFill>
            <a:schemeClr val="bg1"/>
          </a:solidFill>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lvl1pPr>
              <a:defRPr>
                <a:solidFill>
                  <a:schemeClr val="bg1"/>
                </a:solidFill>
              </a:defRPr>
            </a:lvl1pPr>
          </a:lstStyle>
          <a:p>
            <a:fld id="{13B00D1E-A7D3-4BC9-B1E1-2A1B94616637}" type="datetime1">
              <a:rPr lang="en-US" smtClean="0"/>
              <a:t>1/26/2018</a:t>
            </a:fld>
            <a:endParaRPr lang="en-US" dirty="0"/>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t>ASM Assembly Systems</a:t>
            </a:r>
            <a:endParaRPr lang="en-US" dirty="0"/>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dirty="0"/>
              <a:t>Page </a:t>
            </a:r>
            <a:fld id="{9204330F-C5AD-4AC0-88A8-9CB1F8F7EBD6}" type="slidenum">
              <a:rPr lang="en-US" smtClean="0"/>
              <a:pPr/>
              <a:t>‹Nr.›</a:t>
            </a:fld>
            <a:endParaRPr lang="en-US" dirty="0"/>
          </a:p>
        </p:txBody>
      </p:sp>
      <p:sp>
        <p:nvSpPr>
          <p:cNvPr id="13" name="Textplatzhalter 12"/>
          <p:cNvSpPr>
            <a:spLocks noGrp="1"/>
          </p:cNvSpPr>
          <p:nvPr>
            <p:ph type="body" sz="quarter" idx="13"/>
          </p:nvPr>
        </p:nvSpPr>
        <p:spPr>
          <a:xfrm>
            <a:off x="1403357" y="1563689"/>
            <a:ext cx="7489825" cy="324008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13786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32738AE4-29B7-4E04-A726-8DB5AD387528}"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1563689"/>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8" name="Textplatzhalter 6"/>
          <p:cNvSpPr>
            <a:spLocks noGrp="1"/>
          </p:cNvSpPr>
          <p:nvPr>
            <p:ph type="body" sz="quarter" idx="14"/>
          </p:nvPr>
        </p:nvSpPr>
        <p:spPr>
          <a:xfrm>
            <a:off x="4681175" y="1562401"/>
            <a:ext cx="4212000" cy="360000"/>
          </a:xfrm>
          <a:solidFill>
            <a:schemeClr val="accent1"/>
          </a:solidFill>
          <a:ln w="12700">
            <a:solidFill>
              <a:schemeClr val="accent1"/>
            </a:solidFill>
          </a:ln>
        </p:spPr>
        <p:txBody>
          <a:bodyPr lIns="72000" rIns="72000" anchor="ctr"/>
          <a:lstStyle>
            <a:lvl1pPr>
              <a:defRPr>
                <a:solidFill>
                  <a:schemeClr val="bg1"/>
                </a:solidFill>
              </a:defRPr>
            </a:lvl1pPr>
          </a:lstStyle>
          <a:p>
            <a:pPr lvl="0"/>
            <a:r>
              <a:rPr lang="de-DE" dirty="0"/>
              <a:t>Textmasterformat bearbeiten</a:t>
            </a:r>
          </a:p>
        </p:txBody>
      </p:sp>
      <p:sp>
        <p:nvSpPr>
          <p:cNvPr id="9" name="Textplatzhalter 6"/>
          <p:cNvSpPr>
            <a:spLocks noGrp="1"/>
          </p:cNvSpPr>
          <p:nvPr>
            <p:ph type="body" sz="quarter" idx="15"/>
          </p:nvPr>
        </p:nvSpPr>
        <p:spPr>
          <a:xfrm>
            <a:off x="323528" y="2016004"/>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6"/>
          </p:nvPr>
        </p:nvSpPr>
        <p:spPr>
          <a:xfrm>
            <a:off x="4680854" y="2016004"/>
            <a:ext cx="4212000" cy="2787775"/>
          </a:xfrm>
          <a:ln w="12700">
            <a:solidFill>
              <a:schemeClr val="accent1"/>
            </a:solidFill>
          </a:ln>
        </p:spPr>
        <p:txBody>
          <a:bodyPr lIns="72000" tIns="72000" rIns="72000" bIns="7200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846422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ser_1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4F5AB70A-1D16-4D29-AA24-5E50C34F6DEA}"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dirty="0"/>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9" y="1563689"/>
            <a:ext cx="6408736"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8" y="1563688"/>
            <a:ext cx="2016125" cy="1530000"/>
          </a:xfrm>
          <a:solidFill>
            <a:schemeClr val="accent1"/>
          </a:solidFill>
        </p:spPr>
        <p:txBody>
          <a:bodyPr lIns="72000" tIns="72000" rIns="72000" bIns="72000"/>
          <a:lstStyle>
            <a:lvl1pPr marL="0" indent="0">
              <a:buClr>
                <a:schemeClr val="bg1"/>
              </a:buClr>
              <a:buFont typeface="Wingdings" panose="05000000000000000000" pitchFamily="2" charset="2"/>
              <a:buNone/>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a:p>
            <a:pPr lvl="0"/>
            <a:endParaRPr lang="de-DE" dirty="0"/>
          </a:p>
        </p:txBody>
      </p:sp>
    </p:spTree>
    <p:extLst>
      <p:ext uri="{BB962C8B-B14F-4D97-AF65-F5344CB8AC3E}">
        <p14:creationId xmlns:p14="http://schemas.microsoft.com/office/powerpoint/2010/main" val="23527849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ser_1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97AE8E97-3453-4F5C-A5CA-A05E923B7EC2}"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9" y="1563691"/>
            <a:ext cx="6408736" cy="295275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8"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246761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_Text_1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58D892C-8876-4D24-AC24-4F99A89A6869}"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655" y="1563689"/>
            <a:ext cx="748952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763237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ser_2 Text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D9E1675-7FFE-4BBE-BD27-1B6123725151}"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8" y="1563689"/>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8"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9"/>
            <a:ext cx="313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019420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ser_2 Text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7463F8B5-9E2A-40EB-8DDA-9D5528F3732F}"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2484438" y="1563691"/>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6"/>
          </p:nvPr>
        </p:nvSpPr>
        <p:spPr>
          <a:xfrm>
            <a:off x="323858"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6"/>
          <p:cNvSpPr>
            <a:spLocks noGrp="1"/>
          </p:cNvSpPr>
          <p:nvPr>
            <p:ph type="body" sz="quarter" idx="17"/>
          </p:nvPr>
        </p:nvSpPr>
        <p:spPr>
          <a:xfrm>
            <a:off x="5760000" y="1564049"/>
            <a:ext cx="3132000" cy="295239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3688830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ser_Backgroun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DA810F08-0CEA-45AD-83DA-D5802F4ADEFE}"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8" name="Textplatzhalter 7"/>
          <p:cNvSpPr>
            <a:spLocks noGrp="1"/>
          </p:cNvSpPr>
          <p:nvPr>
            <p:ph type="body" sz="quarter" idx="16"/>
          </p:nvPr>
        </p:nvSpPr>
        <p:spPr>
          <a:xfrm>
            <a:off x="323858" y="1563688"/>
            <a:ext cx="2016125" cy="1530000"/>
          </a:xfrm>
          <a:solidFill>
            <a:schemeClr val="accent1"/>
          </a:solidFill>
        </p:spPr>
        <p:txBody>
          <a:bodyPr lIns="72000" tIns="72000" rIns="72000" bIns="7200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2040130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sclaimer_DE">
    <p:spTree>
      <p:nvGrpSpPr>
        <p:cNvPr id="1" name=""/>
        <p:cNvGrpSpPr/>
        <p:nvPr/>
      </p:nvGrpSpPr>
      <p:grpSpPr>
        <a:xfrm>
          <a:off x="0" y="0"/>
          <a:ext cx="0" cy="0"/>
          <a:chOff x="0" y="0"/>
          <a:chExt cx="0" cy="0"/>
        </a:xfrm>
      </p:grpSpPr>
      <p:sp>
        <p:nvSpPr>
          <p:cNvPr id="6" name="Rechteck 5"/>
          <p:cNvSpPr/>
          <p:nvPr userDrawn="1"/>
        </p:nvSpPr>
        <p:spPr>
          <a:xfrm>
            <a:off x="9" y="432000"/>
            <a:ext cx="9143999" cy="4711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Textfeld 6"/>
          <p:cNvSpPr txBox="1"/>
          <p:nvPr userDrawn="1"/>
        </p:nvSpPr>
        <p:spPr>
          <a:xfrm>
            <a:off x="1522" y="432000"/>
            <a:ext cx="9144000" cy="936000"/>
          </a:xfrm>
          <a:prstGeom prst="rect">
            <a:avLst/>
          </a:prstGeom>
          <a:solidFill>
            <a:schemeClr val="bg1"/>
          </a:solidFill>
        </p:spPr>
        <p:txBody>
          <a:bodyPr vert="horz" lIns="324000" tIns="45720" rIns="91440" bIns="45720" rtlCol="0" anchor="ctr">
            <a:normAutofit/>
          </a:bodyPr>
          <a:lstStyle>
            <a:lvl1pPr>
              <a:spcBef>
                <a:spcPct val="0"/>
              </a:spcBef>
              <a:buNone/>
              <a:defRPr b="1">
                <a:solidFill>
                  <a:schemeClr val="bg1"/>
                </a:solidFill>
                <a:latin typeface="+mj-lt"/>
                <a:ea typeface="+mj-ea"/>
                <a:cs typeface="+mj-cs"/>
              </a:defRPr>
            </a:lvl1pPr>
          </a:lstStyle>
          <a:p>
            <a:pPr lvl="0"/>
            <a:r>
              <a:rPr lang="de-DE" dirty="0">
                <a:solidFill>
                  <a:schemeClr val="tx1"/>
                </a:solidFill>
              </a:rPr>
              <a:t>Rechtliche Hinweise</a:t>
            </a:r>
            <a:endParaRPr lang="en-US" dirty="0">
              <a:solidFill>
                <a:schemeClr val="tx1"/>
              </a:solidFill>
            </a:endParaRPr>
          </a:p>
        </p:txBody>
      </p:sp>
      <p:sp>
        <p:nvSpPr>
          <p:cNvPr id="3" name="Datumsplatzhalter 2"/>
          <p:cNvSpPr>
            <a:spLocks noGrp="1"/>
          </p:cNvSpPr>
          <p:nvPr>
            <p:ph type="dt" sz="half" idx="10"/>
          </p:nvPr>
        </p:nvSpPr>
        <p:spPr/>
        <p:txBody>
          <a:bodyPr/>
          <a:lstStyle>
            <a:lvl1pPr>
              <a:defRPr>
                <a:solidFill>
                  <a:schemeClr val="bg1"/>
                </a:solidFill>
              </a:defRPr>
            </a:lvl1pPr>
          </a:lstStyle>
          <a:p>
            <a:fld id="{0886C42A-D266-4E2E-9315-003B4E0EF922}" type="datetime1">
              <a:rPr lang="en-US" smtClean="0"/>
              <a:t>1/26/2018</a:t>
            </a:fld>
            <a:endParaRPr lang="en-US" dirty="0"/>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t>ASM Assembly Systems</a:t>
            </a:r>
            <a:endParaRPr lang="en-US" dirty="0"/>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dirty="0"/>
              <a:t>Page </a:t>
            </a:r>
            <a:fld id="{9204330F-C5AD-4AC0-88A8-9CB1F8F7EBD6}" type="slidenum">
              <a:rPr lang="en-US" smtClean="0"/>
              <a:pPr/>
              <a:t>‹Nr.›</a:t>
            </a:fld>
            <a:endParaRPr lang="en-US" dirty="0"/>
          </a:p>
        </p:txBody>
      </p:sp>
      <p:grpSp>
        <p:nvGrpSpPr>
          <p:cNvPr id="8" name="Gruppieren 7"/>
          <p:cNvGrpSpPr/>
          <p:nvPr userDrawn="1"/>
        </p:nvGrpSpPr>
        <p:grpSpPr>
          <a:xfrm>
            <a:off x="2470150" y="4922730"/>
            <a:ext cx="6423024" cy="138036"/>
            <a:chOff x="2470150" y="4922730"/>
            <a:chExt cx="6423024" cy="138036"/>
          </a:xfrm>
        </p:grpSpPr>
        <p:sp>
          <p:nvSpPr>
            <p:cNvPr id="9" name="Line 8"/>
            <p:cNvSpPr>
              <a:spLocks noChangeShapeType="1"/>
            </p:cNvSpPr>
            <p:nvPr userDrawn="1"/>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10" name="Line 8"/>
            <p:cNvSpPr>
              <a:spLocks noChangeShapeType="1"/>
            </p:cNvSpPr>
            <p:nvPr userDrawn="1"/>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
        <p:nvSpPr>
          <p:cNvPr id="12" name="Textfeld 11"/>
          <p:cNvSpPr txBox="1"/>
          <p:nvPr userDrawn="1"/>
        </p:nvSpPr>
        <p:spPr>
          <a:xfrm>
            <a:off x="0" y="1564855"/>
            <a:ext cx="8893174" cy="3046988"/>
          </a:xfrm>
          <a:prstGeom prst="rect">
            <a:avLst/>
          </a:prstGeom>
        </p:spPr>
        <p:txBody>
          <a:bodyPr vert="horz" lIns="324000" tIns="0" rIns="0" bIns="0" rtlCol="0">
            <a:normAutofit/>
          </a:bodyPr>
          <a:lstStyle>
            <a:lvl1pPr indent="0">
              <a:spcBef>
                <a:spcPts val="1800"/>
              </a:spcBef>
              <a:spcAft>
                <a:spcPts val="450"/>
              </a:spcAft>
              <a:buFont typeface="Arial" panose="020B0604020202020204" pitchFamily="34" charset="0"/>
              <a:buNone/>
              <a:defRPr sz="1200" b="1">
                <a:solidFill>
                  <a:schemeClr val="accent1"/>
                </a:solidFill>
                <a:effectLst/>
              </a:defRPr>
            </a:lvl1pPr>
            <a:lvl2pPr marL="0" indent="0">
              <a:spcBef>
                <a:spcPts val="450"/>
              </a:spcBef>
              <a:buFont typeface="+mj-lt"/>
              <a:buNone/>
              <a:defRPr sz="1100" b="1"/>
            </a:lvl2pPr>
            <a:lvl3pPr marL="0" lvl="2" indent="0">
              <a:spcBef>
                <a:spcPts val="360"/>
              </a:spcBef>
              <a:spcAft>
                <a:spcPts val="600"/>
              </a:spcAft>
              <a:buClr>
                <a:schemeClr val="accent2"/>
              </a:buClr>
              <a:buSzPct val="80000"/>
              <a:buFont typeface="Wingdings" panose="05000000000000000000" pitchFamily="2" charset="2"/>
              <a:buNone/>
              <a:defRPr sz="1200">
                <a:solidFill>
                  <a:schemeClr val="bg1"/>
                </a:solidFill>
                <a:effectLst/>
                <a:ea typeface="Calibri"/>
                <a:cs typeface="Times New Roman"/>
              </a:defRPr>
            </a:lvl3pPr>
            <a:lvl4pPr marL="273600" indent="-136800">
              <a:spcBef>
                <a:spcPts val="360"/>
              </a:spcBef>
              <a:buClr>
                <a:schemeClr val="accent2"/>
              </a:buClr>
              <a:buSzPct val="80000"/>
              <a:buFont typeface="Wingdings" panose="05000000000000000000" pitchFamily="2" charset="2"/>
              <a:buChar char="§"/>
              <a:tabLst/>
              <a:defRPr sz="1200"/>
            </a:lvl4pPr>
            <a:lvl5pPr marL="410400" indent="-136800">
              <a:spcBef>
                <a:spcPts val="360"/>
              </a:spcBef>
              <a:buClr>
                <a:schemeClr val="accent2"/>
              </a:buClr>
              <a:buSzPct val="80000"/>
              <a:buFont typeface="Wingdings" panose="05000000000000000000" pitchFamily="2" charset="2"/>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r>
              <a:rPr lang="de-DE" sz="1200" dirty="0">
                <a:effectLst/>
                <a:latin typeface="+mn-lt"/>
                <a:ea typeface="Calibri"/>
                <a:cs typeface="Times New Roman"/>
              </a:rPr>
              <a:t>Diese Präsentation wurde von ASM Assembly Systems (im Folgenden „ASM AS“ genannt) exklusiv und ausschließlich für die interne Verwendung vonseiten des Empfängers erstellt und beinhaltet keinerlei Rechte zur Veröffentlichung oder Weitergabe an Dritte. Dieses Dokument stellt keine Kaufaufforderung dar und ist nicht als Angebot zu verstehen. Weder die Präsentation, noch ihr Inhalt darf ohne die ausdrückliche Zustimmung von ASM AS für andere Zwecke verwendet werden. </a:t>
            </a:r>
            <a:endParaRPr lang="en-US" sz="1100" dirty="0">
              <a:effectLst/>
              <a:latin typeface="Calibri"/>
              <a:ea typeface="Calibri"/>
              <a:cs typeface="Times New Roman"/>
            </a:endParaRPr>
          </a:p>
          <a:p>
            <a:pPr lvl="2"/>
            <a:r>
              <a:rPr lang="de-DE" sz="1200">
                <a:effectLst/>
                <a:latin typeface="+mn-lt"/>
                <a:ea typeface="Calibri"/>
                <a:cs typeface="Times New Roman"/>
              </a:rPr>
              <a:t>Der </a:t>
            </a:r>
            <a:r>
              <a:rPr lang="de-DE" sz="1200" dirty="0">
                <a:effectLst/>
                <a:latin typeface="+mn-lt"/>
                <a:ea typeface="Calibri"/>
                <a:cs typeface="Times New Roman"/>
              </a:rPr>
              <a:t>Inhalt der Präsentation bezieht sich – nach unserem besten Wissen – auf die derzeit bestehenden Konditionen; Änderungen sind vorbehalten. Bei der Ausarbeitung der Präsentation hat ASM AS ohne unabhängige Prüfung auf die Vollständigkeit und Richtigkeit aller öffentlichen und sonstigen externen Quellen vertraut. Es kann keinerlei (implizite oder explizite) Garantie übernommen werden bezüglich der Richtigkeit und Vollständigkeit dieser Veröffentlichung und ASM AS, seine Vorstände, Mitarbeiter, Vertreter und Handelsvertreter tragen – im gesetzlichen Rahmen –  keinerlei Verpflichtung, Verantwortung oder Sorge für jedwede Konsequenz fremden Handelns oder dessen Unterlassen, das sich auf die Informationen in dieser Präsentation bezieht, noch für jegliche Entscheidung, die mit ihrer Hilfe getroffen wird.</a:t>
            </a:r>
            <a:endParaRPr lang="en-US" sz="1100" dirty="0">
              <a:effectLst/>
              <a:latin typeface="Calibri"/>
              <a:ea typeface="Calibri"/>
              <a:cs typeface="Times New Roman"/>
            </a:endParaRPr>
          </a:p>
          <a:p>
            <a:pPr lvl="2"/>
            <a:r>
              <a:rPr lang="de-DE" sz="1200" b="1" dirty="0">
                <a:effectLst/>
                <a:latin typeface="+mn-lt"/>
                <a:ea typeface="Calibri"/>
                <a:cs typeface="Times New Roman"/>
              </a:rPr>
              <a:t>© 2016 ASM AS</a:t>
            </a:r>
            <a:r>
              <a:rPr lang="de-DE" sz="1200" dirty="0">
                <a:effectLst/>
                <a:latin typeface="+mn-lt"/>
                <a:ea typeface="Calibri"/>
                <a:cs typeface="Times New Roman"/>
              </a:rPr>
              <a:t>. Alle Rechte vorbehalten. Teile dieser Veröffentlichung dürfen nicht dupliziert, gesichert oder weitergegeben werden, weder durch elektronische oder gedruckte Medien, Fotokopien, Aufzeichnungen oder sonstige Mittel, ohne die ausdrückliche schriftliche Zustimmung von ASM AS.</a:t>
            </a:r>
            <a:endParaRPr lang="en-US" sz="1100" dirty="0">
              <a:effectLst/>
              <a:latin typeface="Calibri"/>
              <a:ea typeface="Calibri"/>
              <a:cs typeface="Times New Roman"/>
            </a:endParaRPr>
          </a:p>
        </p:txBody>
      </p:sp>
    </p:spTree>
    <p:extLst>
      <p:ext uri="{BB962C8B-B14F-4D97-AF65-F5344CB8AC3E}">
        <p14:creationId xmlns:p14="http://schemas.microsoft.com/office/powerpoint/2010/main" val="30221900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claimer_EN">
    <p:spTree>
      <p:nvGrpSpPr>
        <p:cNvPr id="1" name=""/>
        <p:cNvGrpSpPr/>
        <p:nvPr/>
      </p:nvGrpSpPr>
      <p:grpSpPr>
        <a:xfrm>
          <a:off x="0" y="0"/>
          <a:ext cx="0" cy="0"/>
          <a:chOff x="0" y="0"/>
          <a:chExt cx="0" cy="0"/>
        </a:xfrm>
      </p:grpSpPr>
      <p:sp>
        <p:nvSpPr>
          <p:cNvPr id="6" name="Rechteck 5"/>
          <p:cNvSpPr/>
          <p:nvPr userDrawn="1"/>
        </p:nvSpPr>
        <p:spPr>
          <a:xfrm>
            <a:off x="9" y="432000"/>
            <a:ext cx="9143999" cy="4711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Datumsplatzhalter 2"/>
          <p:cNvSpPr>
            <a:spLocks noGrp="1"/>
          </p:cNvSpPr>
          <p:nvPr>
            <p:ph type="dt" sz="half" idx="10"/>
          </p:nvPr>
        </p:nvSpPr>
        <p:spPr/>
        <p:txBody>
          <a:bodyPr/>
          <a:lstStyle>
            <a:lvl1pPr>
              <a:defRPr>
                <a:solidFill>
                  <a:schemeClr val="bg1"/>
                </a:solidFill>
              </a:defRPr>
            </a:lvl1pPr>
          </a:lstStyle>
          <a:p>
            <a:fld id="{A9F99225-EA4F-448F-8A51-78A5810CD6EF}" type="datetime1">
              <a:rPr lang="en-US" smtClean="0"/>
              <a:t>1/26/2018</a:t>
            </a:fld>
            <a:endParaRPr lang="en-US" dirty="0"/>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de-DE"/>
              <a:t>ASM Assembly Systems</a:t>
            </a:r>
            <a:endParaRPr lang="en-US" dirty="0"/>
          </a:p>
        </p:txBody>
      </p:sp>
      <p:sp>
        <p:nvSpPr>
          <p:cNvPr id="5" name="Foliennummernplatzhalter 4"/>
          <p:cNvSpPr>
            <a:spLocks noGrp="1"/>
          </p:cNvSpPr>
          <p:nvPr>
            <p:ph type="sldNum" sz="quarter" idx="12"/>
          </p:nvPr>
        </p:nvSpPr>
        <p:spPr/>
        <p:txBody>
          <a:bodyPr/>
          <a:lstStyle>
            <a:lvl1pPr>
              <a:defRPr>
                <a:solidFill>
                  <a:schemeClr val="bg1"/>
                </a:solidFill>
              </a:defRPr>
            </a:lvl1pPr>
          </a:lstStyle>
          <a:p>
            <a:r>
              <a:rPr lang="en-US"/>
              <a:t>Page </a:t>
            </a:r>
            <a:fld id="{9204330F-C5AD-4AC0-88A8-9CB1F8F7EBD6}" type="slidenum">
              <a:rPr lang="en-US" smtClean="0"/>
              <a:pPr/>
              <a:t>‹Nr.›</a:t>
            </a:fld>
            <a:endParaRPr lang="en-US" dirty="0"/>
          </a:p>
        </p:txBody>
      </p:sp>
      <p:grpSp>
        <p:nvGrpSpPr>
          <p:cNvPr id="8" name="Gruppieren 7"/>
          <p:cNvGrpSpPr/>
          <p:nvPr userDrawn="1"/>
        </p:nvGrpSpPr>
        <p:grpSpPr>
          <a:xfrm>
            <a:off x="2470150" y="4922730"/>
            <a:ext cx="6423024" cy="138036"/>
            <a:chOff x="2470150" y="4922730"/>
            <a:chExt cx="6423024" cy="138036"/>
          </a:xfrm>
        </p:grpSpPr>
        <p:sp>
          <p:nvSpPr>
            <p:cNvPr id="9" name="Line 8"/>
            <p:cNvSpPr>
              <a:spLocks noChangeShapeType="1"/>
            </p:cNvSpPr>
            <p:nvPr userDrawn="1"/>
          </p:nvSpPr>
          <p:spPr bwMode="gray">
            <a:xfrm>
              <a:off x="2470150" y="4922730"/>
              <a:ext cx="6423024"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10" name="Line 8"/>
            <p:cNvSpPr>
              <a:spLocks noChangeShapeType="1"/>
            </p:cNvSpPr>
            <p:nvPr userDrawn="1"/>
          </p:nvSpPr>
          <p:spPr bwMode="gray">
            <a:xfrm rot="5400000">
              <a:off x="8495673" y="5006766"/>
              <a:ext cx="108000" cy="0"/>
            </a:xfrm>
            <a:prstGeom prst="line">
              <a:avLst/>
            </a:prstGeom>
            <a:ln>
              <a:solidFill>
                <a:schemeClr val="bg1"/>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sp>
        <p:nvSpPr>
          <p:cNvPr id="12" name="Textfeld 11"/>
          <p:cNvSpPr txBox="1"/>
          <p:nvPr userDrawn="1"/>
        </p:nvSpPr>
        <p:spPr>
          <a:xfrm>
            <a:off x="0" y="1564855"/>
            <a:ext cx="8893174" cy="3046988"/>
          </a:xfrm>
          <a:prstGeom prst="rect">
            <a:avLst/>
          </a:prstGeom>
        </p:spPr>
        <p:txBody>
          <a:bodyPr vert="horz" lIns="324000" tIns="0" rIns="0" bIns="0" rtlCol="0">
            <a:normAutofit/>
          </a:bodyPr>
          <a:lstStyle>
            <a:lvl1pPr indent="0">
              <a:spcBef>
                <a:spcPts val="1800"/>
              </a:spcBef>
              <a:spcAft>
                <a:spcPts val="450"/>
              </a:spcAft>
              <a:buFont typeface="Arial" panose="020B0604020202020204" pitchFamily="34" charset="0"/>
              <a:buNone/>
              <a:defRPr sz="1200" b="1">
                <a:solidFill>
                  <a:schemeClr val="accent1"/>
                </a:solidFill>
                <a:effectLst/>
              </a:defRPr>
            </a:lvl1pPr>
            <a:lvl2pPr marL="0" indent="0">
              <a:spcBef>
                <a:spcPts val="450"/>
              </a:spcBef>
              <a:buFont typeface="+mj-lt"/>
              <a:buNone/>
              <a:defRPr sz="1100" b="1"/>
            </a:lvl2pPr>
            <a:lvl3pPr marL="0" lvl="2" indent="0">
              <a:spcBef>
                <a:spcPts val="360"/>
              </a:spcBef>
              <a:spcAft>
                <a:spcPts val="600"/>
              </a:spcAft>
              <a:buClr>
                <a:schemeClr val="accent2"/>
              </a:buClr>
              <a:buSzPct val="80000"/>
              <a:buFont typeface="Wingdings" panose="05000000000000000000" pitchFamily="2" charset="2"/>
              <a:buNone/>
              <a:defRPr sz="1200">
                <a:solidFill>
                  <a:schemeClr val="bg1"/>
                </a:solidFill>
                <a:effectLst/>
                <a:ea typeface="Calibri"/>
                <a:cs typeface="Times New Roman"/>
              </a:defRPr>
            </a:lvl3pPr>
            <a:lvl4pPr marL="273600" indent="-136800">
              <a:spcBef>
                <a:spcPts val="360"/>
              </a:spcBef>
              <a:buClr>
                <a:schemeClr val="accent2"/>
              </a:buClr>
              <a:buSzPct val="80000"/>
              <a:buFont typeface="Wingdings" panose="05000000000000000000" pitchFamily="2" charset="2"/>
              <a:buChar char="§"/>
              <a:tabLst/>
              <a:defRPr sz="1200"/>
            </a:lvl4pPr>
            <a:lvl5pPr marL="410400" indent="-136800">
              <a:spcBef>
                <a:spcPts val="360"/>
              </a:spcBef>
              <a:buClr>
                <a:schemeClr val="accent2"/>
              </a:buClr>
              <a:buSzPct val="80000"/>
              <a:buFont typeface="Wingdings" panose="05000000000000000000" pitchFamily="2" charset="2"/>
              <a:buChar char="§"/>
              <a:defRPr sz="12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r>
              <a:rPr lang="en-US" dirty="0"/>
              <a:t>This presentation has been prepared by ASM Assembly Systems (hereafter referred to as “ASM AS") exclusively for the benefit and internal use of the recipient and does not carry any right of publication or disclosure to any other party. This document is not and must not be considered as a prospectus. Neither this presentation nor any of its content may be used for any other purpose without the prior written consent of ASM AS. </a:t>
            </a:r>
          </a:p>
          <a:p>
            <a:pPr lvl="2"/>
            <a:r>
              <a:rPr lang="en-US" dirty="0"/>
              <a:t>The information in this presentation reflects prevailing conditions, to the best of our knowledge, as of this date, all of which are accordingly subject to change. In preparing this presentation, ASM AS has relied upon and assumed, without independent verification, the accuracy and completeness of all information from public sources or which was otherwise reviewed by us. No representation or warranty (express or implied) is given as to the accuracy or completeness of the information contained in this publication, and, to the extent permitted by law, ASM, its directors, employees, representatives, and agents do not accept or assume any liability, responsibility or duty of care for any consequences of you or anyone else acting, or refraining to act, in reliance on the information contained in this presentation or for any decision based on it.</a:t>
            </a:r>
          </a:p>
          <a:p>
            <a:pPr lvl="2"/>
            <a:r>
              <a:rPr lang="en-US" b="1" dirty="0"/>
              <a:t>©2016 ASM AS. </a:t>
            </a:r>
            <a:r>
              <a:rPr lang="en-US" dirty="0"/>
              <a:t>All rights reserved. No part of this publication may be reproduced, stored in a retrieval system or transmitted in any form or by any means electronic, mechanical, photocopying, recording or otherwise, without the prior written permission of ASM AS.</a:t>
            </a:r>
          </a:p>
        </p:txBody>
      </p:sp>
      <p:sp>
        <p:nvSpPr>
          <p:cNvPr id="13" name="Textfeld 12"/>
          <p:cNvSpPr txBox="1"/>
          <p:nvPr userDrawn="1"/>
        </p:nvSpPr>
        <p:spPr>
          <a:xfrm>
            <a:off x="1522" y="432000"/>
            <a:ext cx="9144000" cy="936000"/>
          </a:xfrm>
          <a:prstGeom prst="rect">
            <a:avLst/>
          </a:prstGeom>
          <a:solidFill>
            <a:schemeClr val="bg1"/>
          </a:solidFill>
        </p:spPr>
        <p:txBody>
          <a:bodyPr vert="horz" lIns="324000" tIns="45720" rIns="91440" bIns="45720" rtlCol="0" anchor="ctr">
            <a:normAutofit/>
          </a:bodyPr>
          <a:lstStyle>
            <a:lvl1pPr>
              <a:spcBef>
                <a:spcPct val="0"/>
              </a:spcBef>
              <a:buNone/>
              <a:defRPr b="1">
                <a:solidFill>
                  <a:schemeClr val="bg1"/>
                </a:solidFill>
                <a:latin typeface="+mj-lt"/>
                <a:ea typeface="+mj-ea"/>
                <a:cs typeface="+mj-cs"/>
              </a:defRPr>
            </a:lvl1pPr>
          </a:lstStyle>
          <a:p>
            <a:pPr lvl="0"/>
            <a:r>
              <a:rPr lang="de-DE" dirty="0">
                <a:solidFill>
                  <a:schemeClr val="tx1"/>
                </a:solidFill>
              </a:rPr>
              <a:t>Legal</a:t>
            </a:r>
            <a:r>
              <a:rPr lang="de-DE" dirty="0"/>
              <a:t> </a:t>
            </a:r>
            <a:r>
              <a:rPr lang="de-DE" dirty="0">
                <a:solidFill>
                  <a:schemeClr val="tx1"/>
                </a:solidFill>
              </a:rPr>
              <a:t>Disclaimer</a:t>
            </a:r>
            <a:endParaRPr lang="en-US" dirty="0">
              <a:solidFill>
                <a:schemeClr val="tx1"/>
              </a:solidFill>
            </a:endParaRPr>
          </a:p>
        </p:txBody>
      </p:sp>
    </p:spTree>
    <p:extLst>
      <p:ext uri="{BB962C8B-B14F-4D97-AF65-F5344CB8AC3E}">
        <p14:creationId xmlns:p14="http://schemas.microsoft.com/office/powerpoint/2010/main" val="2395907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hank You_DE">
    <p:spTree>
      <p:nvGrpSpPr>
        <p:cNvPr id="1" name=""/>
        <p:cNvGrpSpPr/>
        <p:nvPr/>
      </p:nvGrpSpPr>
      <p:grpSpPr>
        <a:xfrm>
          <a:off x="0" y="0"/>
          <a:ext cx="0" cy="0"/>
          <a:chOff x="0" y="0"/>
          <a:chExt cx="0" cy="0"/>
        </a:xfrm>
      </p:grpSpPr>
      <p:grpSp>
        <p:nvGrpSpPr>
          <p:cNvPr id="4" name="Gruppieren 3"/>
          <p:cNvGrpSpPr/>
          <p:nvPr userDrawn="1"/>
        </p:nvGrpSpPr>
        <p:grpSpPr>
          <a:xfrm>
            <a:off x="0" y="2"/>
            <a:ext cx="9144000" cy="5141913"/>
            <a:chOff x="0" y="0"/>
            <a:chExt cx="9144000" cy="5141913"/>
          </a:xfrm>
        </p:grpSpPr>
        <p:sp>
          <p:nvSpPr>
            <p:cNvPr id="5" name="Rechteck 4"/>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bg1"/>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9"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userDrawn="1"/>
        </p:nvSpPr>
        <p:spPr>
          <a:xfrm>
            <a:off x="6372200" y="2675696"/>
            <a:ext cx="2016000" cy="400110"/>
          </a:xfrm>
          <a:prstGeom prst="rect">
            <a:avLst/>
          </a:prstGeom>
          <a:solidFill>
            <a:schemeClr val="bg1"/>
          </a:solidFill>
        </p:spPr>
        <p:txBody>
          <a:bodyPr wrap="square" rtlCol="0">
            <a:spAutoFit/>
          </a:bodyPr>
          <a:lstStyle/>
          <a:p>
            <a:r>
              <a:rPr lang="en-US" sz="1000" b="1" i="0" u="none" strike="noStrike" kern="1200" baseline="0" dirty="0">
                <a:solidFill>
                  <a:schemeClr val="bg1"/>
                </a:solidFill>
                <a:latin typeface="+mn-lt"/>
                <a:ea typeface="+mn-ea"/>
                <a:cs typeface="+mn-cs"/>
              </a:rPr>
              <a:t>          </a:t>
            </a:r>
            <a:r>
              <a:rPr lang="en-US" sz="1000" b="1" i="0" u="none" strike="noStrike" kern="1200" baseline="0" dirty="0" err="1">
                <a:solidFill>
                  <a:schemeClr val="tx1"/>
                </a:solidFill>
                <a:latin typeface="+mn-lt"/>
                <a:ea typeface="+mn-ea"/>
                <a:cs typeface="+mn-cs"/>
              </a:rPr>
              <a:t>Informiert</a:t>
            </a:r>
            <a:r>
              <a:rPr lang="en-US" sz="1000" b="1" i="0" u="none" strike="noStrike" kern="1200" baseline="0" dirty="0">
                <a:solidFill>
                  <a:schemeClr val="tx1"/>
                </a:solidFill>
                <a:latin typeface="+mn-lt"/>
                <a:ea typeface="+mn-ea"/>
                <a:cs typeface="+mn-cs"/>
              </a:rPr>
              <a:t> via Blog:</a:t>
            </a:r>
          </a:p>
          <a:p>
            <a:r>
              <a:rPr lang="en-US" sz="1000" b="1" i="0" u="none" strike="noStrike" kern="1200" baseline="0" dirty="0">
                <a:solidFill>
                  <a:schemeClr val="bg1"/>
                </a:solidFill>
                <a:latin typeface="+mn-lt"/>
                <a:ea typeface="+mn-ea"/>
                <a:cs typeface="+mn-cs"/>
                <a:hlinkClick r:id="rId5"/>
              </a:rPr>
              <a:t>Smart SMT Factory Forum</a:t>
            </a:r>
            <a:endParaRPr lang="en-US" sz="1000" b="1" i="0" u="none" strike="noStrike" kern="1200" baseline="0" dirty="0">
              <a:solidFill>
                <a:schemeClr val="bg1"/>
              </a:solidFill>
              <a:latin typeface="+mn-lt"/>
              <a:ea typeface="+mn-ea"/>
              <a:cs typeface="+mn-cs"/>
            </a:endParaRPr>
          </a:p>
        </p:txBody>
      </p:sp>
      <p:sp>
        <p:nvSpPr>
          <p:cNvPr id="12" name="Textfeld 11"/>
          <p:cNvSpPr txBox="1"/>
          <p:nvPr userDrawn="1"/>
        </p:nvSpPr>
        <p:spPr>
          <a:xfrm>
            <a:off x="1063034" y="1559572"/>
            <a:ext cx="1816778"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err="1">
                <a:solidFill>
                  <a:schemeClr val="tx1"/>
                </a:solidFill>
              </a:rPr>
              <a:t>Alle</a:t>
            </a:r>
            <a:r>
              <a:rPr lang="en-US" dirty="0">
                <a:solidFill>
                  <a:schemeClr val="tx1"/>
                </a:solidFill>
              </a:rPr>
              <a:t> Videos &amp; </a:t>
            </a:r>
            <a:r>
              <a:rPr lang="en-US" dirty="0" err="1">
                <a:solidFill>
                  <a:schemeClr val="tx1"/>
                </a:solidFill>
              </a:rPr>
              <a:t>Animationen</a:t>
            </a:r>
            <a:r>
              <a:rPr lang="en-US" dirty="0">
                <a:solidFill>
                  <a:schemeClr val="tx1"/>
                </a:solidFill>
              </a:rPr>
              <a:t> auf </a:t>
            </a:r>
            <a:r>
              <a:rPr lang="en-US" dirty="0">
                <a:solidFill>
                  <a:schemeClr val="tx1"/>
                </a:solidFill>
                <a:hlinkClick r:id="rId6"/>
              </a:rPr>
              <a:t>YouTube</a:t>
            </a:r>
            <a:endParaRPr lang="de-DE" dirty="0"/>
          </a:p>
        </p:txBody>
      </p:sp>
      <p:pic>
        <p:nvPicPr>
          <p:cNvPr id="13" name="Picture 4" descr="T:\ASM\16-2509-ASM PPT Master - Schlussfolie\16-2408-ASM Smart SMT Factory Forum Logo_161013.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137" y="1671650"/>
            <a:ext cx="1173787" cy="118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4427984" y="555526"/>
            <a:ext cx="1764196"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  </a:t>
            </a:r>
            <a:r>
              <a:rPr lang="en-US" dirty="0" err="1">
                <a:solidFill>
                  <a:schemeClr val="tx1"/>
                </a:solidFill>
              </a:rPr>
              <a:t>Professionel</a:t>
            </a:r>
            <a:r>
              <a:rPr lang="en-US" dirty="0">
                <a:solidFill>
                  <a:schemeClr val="tx1"/>
                </a:solidFill>
              </a:rPr>
              <a:t> </a:t>
            </a:r>
            <a:r>
              <a:rPr lang="en-US" dirty="0" err="1">
                <a:solidFill>
                  <a:schemeClr val="tx1"/>
                </a:solidFill>
              </a:rPr>
              <a:t>Networken</a:t>
            </a:r>
            <a:r>
              <a:rPr lang="en-US" baseline="0" dirty="0">
                <a:solidFill>
                  <a:schemeClr val="tx1"/>
                </a:solidFill>
              </a:rPr>
              <a:t> </a:t>
            </a:r>
            <a:br>
              <a:rPr lang="en-US" baseline="0" dirty="0">
                <a:solidFill>
                  <a:schemeClr val="tx1"/>
                </a:solidFill>
              </a:rPr>
            </a:br>
            <a:r>
              <a:rPr lang="en-US" baseline="0" dirty="0">
                <a:solidFill>
                  <a:schemeClr val="tx1"/>
                </a:solidFill>
              </a:rPr>
              <a:t>  auf </a:t>
            </a:r>
            <a:r>
              <a:rPr lang="en-US" baseline="0" dirty="0">
                <a:solidFill>
                  <a:schemeClr val="tx1"/>
                </a:solidFill>
                <a:hlinkClick r:id="rId8"/>
              </a:rPr>
              <a:t>Xing</a:t>
            </a:r>
            <a:r>
              <a:rPr lang="en-US" baseline="0" dirty="0">
                <a:solidFill>
                  <a:schemeClr val="tx1"/>
                </a:solidFill>
              </a:rPr>
              <a:t> und </a:t>
            </a:r>
            <a:r>
              <a:rPr lang="en-US" baseline="0" dirty="0">
                <a:solidFill>
                  <a:schemeClr val="tx1"/>
                </a:solidFill>
                <a:hlinkClick r:id="rId9"/>
              </a:rPr>
              <a:t>LinkedIn</a:t>
            </a:r>
            <a:endParaRPr lang="en-US" dirty="0">
              <a:solidFill>
                <a:schemeClr val="tx1"/>
              </a:solidFill>
            </a:endParaRPr>
          </a:p>
        </p:txBody>
      </p:sp>
      <p:pic>
        <p:nvPicPr>
          <p:cNvPr id="15" name="Picture 6" descr="T:\ASM\16-2509-ASM PPT Master - Schlussfolie\LinkedIn.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04000" y="519522"/>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userDrawn="1"/>
        </p:nvSpPr>
        <p:spPr>
          <a:xfrm>
            <a:off x="1756232" y="987574"/>
            <a:ext cx="1591632"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err="1">
                <a:solidFill>
                  <a:schemeClr val="tx1"/>
                </a:solidFill>
              </a:rPr>
              <a:t>Aktuelle</a:t>
            </a:r>
            <a:r>
              <a:rPr lang="en-US" dirty="0">
                <a:solidFill>
                  <a:schemeClr val="tx1"/>
                </a:solidFill>
              </a:rPr>
              <a:t> </a:t>
            </a:r>
            <a:r>
              <a:rPr lang="en-US" dirty="0" err="1">
                <a:solidFill>
                  <a:schemeClr val="tx1"/>
                </a:solidFill>
              </a:rPr>
              <a:t>Informationen</a:t>
            </a:r>
            <a:r>
              <a:rPr lang="en-US" dirty="0">
                <a:solidFill>
                  <a:schemeClr val="tx1"/>
                </a:solidFill>
              </a:rPr>
              <a:t> </a:t>
            </a:r>
            <a:br>
              <a:rPr lang="en-US" dirty="0">
                <a:solidFill>
                  <a:schemeClr val="tx1"/>
                </a:solidFill>
              </a:rPr>
            </a:br>
            <a:r>
              <a:rPr lang="en-US" baseline="0" dirty="0">
                <a:solidFill>
                  <a:schemeClr val="tx1"/>
                </a:solidFill>
              </a:rPr>
              <a:t>auf </a:t>
            </a:r>
            <a:r>
              <a:rPr lang="en-US" baseline="0" dirty="0">
                <a:solidFill>
                  <a:schemeClr val="tx1"/>
                </a:solidFill>
                <a:hlinkClick r:id="rId11"/>
              </a:rPr>
              <a:t>Facebook</a:t>
            </a:r>
            <a:endParaRPr lang="en-US" dirty="0">
              <a:solidFill>
                <a:schemeClr val="tx1"/>
              </a:solidFill>
            </a:endParaRPr>
          </a:p>
        </p:txBody>
      </p:sp>
      <p:pic>
        <p:nvPicPr>
          <p:cNvPr id="17" name="Picture 7" descr="T:\ASM\16-2509-ASM PPT Master - Schlussfolie\FaceBook.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458840" y="636192"/>
            <a:ext cx="46800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ASM\16-2509-ASM PPT Master - Schlussfolie\YouTub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3568" y="1347614"/>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userDrawn="1"/>
        </p:nvSpPr>
        <p:spPr>
          <a:xfrm>
            <a:off x="1511661" y="2875707"/>
            <a:ext cx="1944000"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 </a:t>
            </a:r>
            <a:r>
              <a:rPr lang="en-US" dirty="0" err="1">
                <a:solidFill>
                  <a:schemeClr val="tx1"/>
                </a:solidFill>
              </a:rPr>
              <a:t>Umfangreiche</a:t>
            </a:r>
            <a:r>
              <a:rPr lang="en-US" dirty="0">
                <a:solidFill>
                  <a:schemeClr val="tx1"/>
                </a:solidFill>
              </a:rPr>
              <a:t> ASM Online-Tools  </a:t>
            </a:r>
            <a:r>
              <a:rPr lang="en-US" dirty="0" err="1">
                <a:solidFill>
                  <a:schemeClr val="tx1"/>
                </a:solidFill>
              </a:rPr>
              <a:t>unter</a:t>
            </a:r>
            <a:r>
              <a:rPr lang="en-US" dirty="0">
                <a:solidFill>
                  <a:schemeClr val="tx1"/>
                </a:solidFill>
              </a:rPr>
              <a:t> </a:t>
            </a:r>
            <a:r>
              <a:rPr lang="en-US" dirty="0" err="1">
                <a:solidFill>
                  <a:schemeClr val="tx1"/>
                </a:solidFill>
                <a:hlinkClick r:id="rId14"/>
              </a:rPr>
              <a:t>MyASM</a:t>
            </a:r>
            <a:r>
              <a:rPr lang="en-US" baseline="0" dirty="0">
                <a:solidFill>
                  <a:schemeClr val="tx1"/>
                </a:solidFill>
              </a:rPr>
              <a:t> </a:t>
            </a:r>
            <a:endParaRPr lang="en-US" dirty="0">
              <a:solidFill>
                <a:schemeClr val="tx1"/>
              </a:solidFill>
            </a:endParaRPr>
          </a:p>
        </p:txBody>
      </p:sp>
      <p:pic>
        <p:nvPicPr>
          <p:cNvPr id="20" name="Picture 2" descr="T:\ASM\16-2509-ASM PPT Master - Schlussfolie\Xing.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688176" y="15948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T:\ASM\16-2509-ASM PPT Master - Schlussfolie\MyASM.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7584" y="2679762"/>
            <a:ext cx="755076" cy="79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userDrawn="1"/>
        </p:nvSpPr>
        <p:spPr>
          <a:xfrm>
            <a:off x="3635876" y="2175710"/>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ASM </a:t>
            </a:r>
            <a:r>
              <a:rPr lang="en-US" dirty="0">
                <a:solidFill>
                  <a:schemeClr val="tx1"/>
                </a:solidFill>
                <a:hlinkClick r:id="rId17"/>
              </a:rPr>
              <a:t>Newsletter</a:t>
            </a:r>
            <a:endParaRPr lang="en-US" dirty="0">
              <a:solidFill>
                <a:schemeClr val="tx1"/>
              </a:solidFill>
            </a:endParaRPr>
          </a:p>
        </p:txBody>
      </p:sp>
      <p:pic>
        <p:nvPicPr>
          <p:cNvPr id="23"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207514" y="2071704"/>
            <a:ext cx="467999" cy="468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1"/>
          <p:cNvSpPr txBox="1"/>
          <p:nvPr userDrawn="1"/>
        </p:nvSpPr>
        <p:spPr>
          <a:xfrm>
            <a:off x="823906" y="4079964"/>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ASM </a:t>
            </a:r>
            <a:r>
              <a:rPr lang="en-US" u="sng" dirty="0">
                <a:solidFill>
                  <a:schemeClr val="accent1"/>
                </a:solidFill>
                <a:hlinkClick r:id="rId14"/>
              </a:rPr>
              <a:t>Website</a:t>
            </a:r>
            <a:endParaRPr lang="en-US" u="sng" dirty="0">
              <a:solidFill>
                <a:schemeClr val="accent1"/>
              </a:solidFill>
            </a:endParaRPr>
          </a:p>
        </p:txBody>
      </p:sp>
      <p:pic>
        <p:nvPicPr>
          <p:cNvPr id="25"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95537" y="3975958"/>
            <a:ext cx="467999" cy="468000"/>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userDrawn="1"/>
        </p:nvSpPr>
        <p:spPr>
          <a:xfrm>
            <a:off x="381809" y="3975958"/>
            <a:ext cx="468052" cy="468000"/>
          </a:xfrm>
          <a:prstGeom prst="ellipse">
            <a:avLst/>
          </a:prstGeom>
          <a:solidFill>
            <a:schemeClr val="accent1"/>
          </a:solidFill>
          <a:ln w="19050">
            <a:solidFill>
              <a:srgbClr val="8989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p:cNvSpPr txBox="1"/>
          <p:nvPr userDrawn="1"/>
        </p:nvSpPr>
        <p:spPr>
          <a:xfrm>
            <a:off x="336954" y="4047918"/>
            <a:ext cx="545342" cy="276999"/>
          </a:xfrm>
          <a:prstGeom prst="rect">
            <a:avLst/>
          </a:prstGeom>
          <a:noFill/>
        </p:spPr>
        <p:txBody>
          <a:bodyPr wrap="none" rtlCol="0">
            <a:spAutoFit/>
          </a:bodyPr>
          <a:lstStyle/>
          <a:p>
            <a:r>
              <a:rPr lang="de-DE" sz="1200" b="1" dirty="0" err="1">
                <a:solidFill>
                  <a:schemeClr val="bg1"/>
                </a:solidFill>
              </a:rPr>
              <a:t>www</a:t>
            </a:r>
            <a:endParaRPr lang="de-DE" sz="1200" b="1" dirty="0">
              <a:solidFill>
                <a:schemeClr val="bg1"/>
              </a:solidFill>
            </a:endParaRPr>
          </a:p>
        </p:txBody>
      </p:sp>
    </p:spTree>
    <p:extLst>
      <p:ext uri="{BB962C8B-B14F-4D97-AF65-F5344CB8AC3E}">
        <p14:creationId xmlns:p14="http://schemas.microsoft.com/office/powerpoint/2010/main" val="1867813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hank You_EN">
    <p:spTree>
      <p:nvGrpSpPr>
        <p:cNvPr id="1" name=""/>
        <p:cNvGrpSpPr/>
        <p:nvPr/>
      </p:nvGrpSpPr>
      <p:grpSpPr>
        <a:xfrm>
          <a:off x="0" y="0"/>
          <a:ext cx="0" cy="0"/>
          <a:chOff x="0" y="0"/>
          <a:chExt cx="0" cy="0"/>
        </a:xfrm>
      </p:grpSpPr>
      <p:grpSp>
        <p:nvGrpSpPr>
          <p:cNvPr id="4" name="Gruppieren 3"/>
          <p:cNvGrpSpPr/>
          <p:nvPr userDrawn="1"/>
        </p:nvGrpSpPr>
        <p:grpSpPr>
          <a:xfrm>
            <a:off x="0" y="2"/>
            <a:ext cx="9144000" cy="5141913"/>
            <a:chOff x="0" y="0"/>
            <a:chExt cx="9144000" cy="5141913"/>
          </a:xfrm>
        </p:grpSpPr>
        <p:sp>
          <p:nvSpPr>
            <p:cNvPr id="5" name="Rechteck 4"/>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el 1"/>
          <p:cNvSpPr>
            <a:spLocks noGrp="1"/>
          </p:cNvSpPr>
          <p:nvPr>
            <p:ph type="ctrTitle" hasCustomPrompt="1"/>
          </p:nvPr>
        </p:nvSpPr>
        <p:spPr>
          <a:xfrm>
            <a:off x="2660037" y="3628800"/>
            <a:ext cx="3816000" cy="766800"/>
          </a:xfrm>
        </p:spPr>
        <p:txBody>
          <a:bodyPr lIns="0" tIns="0" rIns="0" bIns="46800">
            <a:noAutofit/>
          </a:bodyPr>
          <a:lstStyle>
            <a:lvl1pPr algn="ctr">
              <a:defRPr sz="2800" b="1">
                <a:solidFill>
                  <a:schemeClr val="bg1"/>
                </a:solidFill>
              </a:defRPr>
            </a:lvl1pPr>
          </a:lstStyle>
          <a:p>
            <a:r>
              <a:rPr lang="de-DE" dirty="0" err="1"/>
              <a:t>Thank</a:t>
            </a:r>
            <a:r>
              <a:rPr lang="de-DE" dirty="0"/>
              <a:t> </a:t>
            </a:r>
            <a:r>
              <a:rPr lang="de-DE" dirty="0" err="1"/>
              <a:t>You</a:t>
            </a:r>
            <a:endParaRPr lang="en-US" dirty="0"/>
          </a:p>
        </p:txBody>
      </p:sp>
      <p:sp>
        <p:nvSpPr>
          <p:cNvPr id="3" name="Untertitel 2"/>
          <p:cNvSpPr>
            <a:spLocks noGrp="1"/>
          </p:cNvSpPr>
          <p:nvPr>
            <p:ph type="subTitle" idx="1"/>
          </p:nvPr>
        </p:nvSpPr>
        <p:spPr>
          <a:xfrm>
            <a:off x="2660037" y="4500000"/>
            <a:ext cx="3816000" cy="392400"/>
          </a:xfrm>
        </p:spPr>
        <p:txBody>
          <a:bodyPr>
            <a:noAutofit/>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pic>
        <p:nvPicPr>
          <p:cNvPr id="9"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p:cNvSpPr txBox="1"/>
          <p:nvPr userDrawn="1"/>
        </p:nvSpPr>
        <p:spPr>
          <a:xfrm>
            <a:off x="6372200" y="2675696"/>
            <a:ext cx="2016224" cy="400110"/>
          </a:xfrm>
          <a:prstGeom prst="rect">
            <a:avLst/>
          </a:prstGeom>
          <a:solidFill>
            <a:schemeClr val="bg1"/>
          </a:solidFill>
        </p:spPr>
        <p:txBody>
          <a:bodyPr wrap="square" rtlCol="0">
            <a:spAutoFit/>
          </a:bodyPr>
          <a:lstStyle/>
          <a:p>
            <a:r>
              <a:rPr lang="en-US" sz="1000" b="1" i="0" u="none" strike="noStrike" kern="1200" baseline="0" dirty="0">
                <a:solidFill>
                  <a:schemeClr val="bg1"/>
                </a:solidFill>
                <a:latin typeface="+mn-lt"/>
                <a:ea typeface="+mn-ea"/>
                <a:cs typeface="+mn-cs"/>
              </a:rPr>
              <a:t>          </a:t>
            </a:r>
            <a:r>
              <a:rPr lang="en-US" sz="1000" b="1" i="0" u="none" strike="noStrike" kern="1200" baseline="0" dirty="0">
                <a:solidFill>
                  <a:schemeClr val="tx1"/>
                </a:solidFill>
                <a:latin typeface="+mn-lt"/>
                <a:ea typeface="+mn-ea"/>
                <a:cs typeface="+mn-cs"/>
              </a:rPr>
              <a:t>Stay informed via Blog:</a:t>
            </a:r>
          </a:p>
          <a:p>
            <a:r>
              <a:rPr lang="en-US" sz="1000" b="1" i="0" u="none" strike="noStrike" kern="1200" baseline="0" dirty="0">
                <a:solidFill>
                  <a:schemeClr val="bg1"/>
                </a:solidFill>
                <a:latin typeface="+mn-lt"/>
                <a:ea typeface="+mn-ea"/>
                <a:cs typeface="+mn-cs"/>
                <a:hlinkClick r:id="rId5"/>
              </a:rPr>
              <a:t>Smart SMT Factory Forum</a:t>
            </a:r>
            <a:endParaRPr lang="en-US" sz="1000" b="1" i="0" u="none" strike="noStrike" kern="1200" baseline="0" dirty="0">
              <a:solidFill>
                <a:schemeClr val="bg1"/>
              </a:solidFill>
              <a:latin typeface="+mn-lt"/>
              <a:ea typeface="+mn-ea"/>
              <a:cs typeface="+mn-cs"/>
            </a:endParaRPr>
          </a:p>
        </p:txBody>
      </p:sp>
      <p:sp>
        <p:nvSpPr>
          <p:cNvPr id="12" name="Textfeld 11"/>
          <p:cNvSpPr txBox="1"/>
          <p:nvPr userDrawn="1"/>
        </p:nvSpPr>
        <p:spPr>
          <a:xfrm>
            <a:off x="1063034" y="1559572"/>
            <a:ext cx="1816778"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All videos </a:t>
            </a:r>
            <a:r>
              <a:rPr lang="en-US">
                <a:solidFill>
                  <a:schemeClr val="tx1"/>
                </a:solidFill>
              </a:rPr>
              <a:t>&amp; animations </a:t>
            </a:r>
            <a:br>
              <a:rPr lang="en-US">
                <a:solidFill>
                  <a:schemeClr val="tx1"/>
                </a:solidFill>
              </a:rPr>
            </a:br>
            <a:r>
              <a:rPr lang="en-US">
                <a:solidFill>
                  <a:schemeClr val="tx1"/>
                </a:solidFill>
              </a:rPr>
              <a:t>on </a:t>
            </a:r>
            <a:r>
              <a:rPr lang="en-US" dirty="0">
                <a:solidFill>
                  <a:schemeClr val="tx1"/>
                </a:solidFill>
                <a:hlinkClick r:id="rId6"/>
              </a:rPr>
              <a:t>YouTube</a:t>
            </a:r>
            <a:endParaRPr lang="de-DE" dirty="0"/>
          </a:p>
        </p:txBody>
      </p:sp>
      <p:pic>
        <p:nvPicPr>
          <p:cNvPr id="13" name="Picture 4" descr="T:\ASM\16-2509-ASM PPT Master - Schlussfolie\16-2408-ASM Smart SMT Factory Forum Logo_161013.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796137" y="1671650"/>
            <a:ext cx="1173787" cy="118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userDrawn="1"/>
        </p:nvSpPr>
        <p:spPr>
          <a:xfrm>
            <a:off x="4427984" y="555526"/>
            <a:ext cx="1764196"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  Professional network</a:t>
            </a:r>
            <a:r>
              <a:rPr lang="en-US" baseline="0" dirty="0">
                <a:solidFill>
                  <a:schemeClr val="tx1"/>
                </a:solidFill>
              </a:rPr>
              <a:t> </a:t>
            </a:r>
            <a:br>
              <a:rPr lang="en-US" baseline="0" dirty="0">
                <a:solidFill>
                  <a:schemeClr val="tx1"/>
                </a:solidFill>
              </a:rPr>
            </a:br>
            <a:r>
              <a:rPr lang="en-US" baseline="0" dirty="0">
                <a:solidFill>
                  <a:schemeClr val="tx1"/>
                </a:solidFill>
              </a:rPr>
              <a:t>  on </a:t>
            </a:r>
            <a:r>
              <a:rPr lang="en-US" baseline="0" dirty="0">
                <a:solidFill>
                  <a:schemeClr val="tx1"/>
                </a:solidFill>
                <a:hlinkClick r:id="rId8"/>
              </a:rPr>
              <a:t>Xing</a:t>
            </a:r>
            <a:r>
              <a:rPr lang="en-US" baseline="0" dirty="0">
                <a:solidFill>
                  <a:schemeClr val="tx1"/>
                </a:solidFill>
              </a:rPr>
              <a:t> and </a:t>
            </a:r>
            <a:r>
              <a:rPr lang="en-US" baseline="0" dirty="0">
                <a:solidFill>
                  <a:schemeClr val="tx1"/>
                </a:solidFill>
                <a:hlinkClick r:id="rId9"/>
              </a:rPr>
              <a:t>LinkedIn</a:t>
            </a:r>
            <a:endParaRPr lang="en-US" dirty="0">
              <a:solidFill>
                <a:schemeClr val="tx1"/>
              </a:solidFill>
            </a:endParaRPr>
          </a:p>
        </p:txBody>
      </p:sp>
      <p:pic>
        <p:nvPicPr>
          <p:cNvPr id="15" name="Picture 6" descr="T:\ASM\16-2509-ASM PPT Master - Schlussfolie\LinkedIn.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4104000" y="519522"/>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p:cNvSpPr txBox="1"/>
          <p:nvPr userDrawn="1"/>
        </p:nvSpPr>
        <p:spPr>
          <a:xfrm>
            <a:off x="1756232" y="987574"/>
            <a:ext cx="1591632"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Latest information </a:t>
            </a:r>
            <a:br>
              <a:rPr lang="en-US" dirty="0">
                <a:solidFill>
                  <a:schemeClr val="tx1"/>
                </a:solidFill>
              </a:rPr>
            </a:br>
            <a:r>
              <a:rPr lang="en-US" baseline="0" dirty="0">
                <a:solidFill>
                  <a:schemeClr val="tx1"/>
                </a:solidFill>
              </a:rPr>
              <a:t>on </a:t>
            </a:r>
            <a:r>
              <a:rPr lang="en-US" baseline="0" dirty="0" err="1">
                <a:solidFill>
                  <a:schemeClr val="tx1"/>
                </a:solidFill>
                <a:hlinkClick r:id="rId11"/>
              </a:rPr>
              <a:t>facebook</a:t>
            </a:r>
            <a:endParaRPr lang="en-US" dirty="0">
              <a:solidFill>
                <a:schemeClr val="tx1"/>
              </a:solidFill>
            </a:endParaRPr>
          </a:p>
        </p:txBody>
      </p:sp>
      <p:pic>
        <p:nvPicPr>
          <p:cNvPr id="17" name="Picture 7" descr="T:\ASM\16-2509-ASM PPT Master - Schlussfolie\FaceBook.png"/>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458840" y="636192"/>
            <a:ext cx="468001" cy="46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T:\ASM\16-2509-ASM PPT Master - Schlussfolie\YouTub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3568" y="1347614"/>
            <a:ext cx="468000" cy="468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userDrawn="1"/>
        </p:nvSpPr>
        <p:spPr>
          <a:xfrm>
            <a:off x="1511661" y="2875707"/>
            <a:ext cx="1944000" cy="400110"/>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 All ASM online tools</a:t>
            </a:r>
            <a:br>
              <a:rPr lang="en-US" dirty="0">
                <a:solidFill>
                  <a:schemeClr val="tx1"/>
                </a:solidFill>
              </a:rPr>
            </a:br>
            <a:r>
              <a:rPr lang="en-US" dirty="0">
                <a:solidFill>
                  <a:schemeClr val="tx1"/>
                </a:solidFill>
              </a:rPr>
              <a:t> at a glance  </a:t>
            </a:r>
            <a:r>
              <a:rPr lang="en-US" dirty="0" err="1">
                <a:solidFill>
                  <a:schemeClr val="tx1"/>
                </a:solidFill>
                <a:hlinkClick r:id="rId14"/>
              </a:rPr>
              <a:t>MyASM</a:t>
            </a:r>
            <a:r>
              <a:rPr lang="en-US" baseline="0" dirty="0">
                <a:solidFill>
                  <a:schemeClr val="tx1"/>
                </a:solidFill>
              </a:rPr>
              <a:t> </a:t>
            </a:r>
            <a:endParaRPr lang="en-US" dirty="0">
              <a:solidFill>
                <a:schemeClr val="tx1"/>
              </a:solidFill>
            </a:endParaRPr>
          </a:p>
        </p:txBody>
      </p:sp>
      <p:pic>
        <p:nvPicPr>
          <p:cNvPr id="20" name="Picture 2" descr="T:\ASM\16-2509-ASM PPT Master - Schlussfolie\Xing.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688176" y="159482"/>
            <a:ext cx="468000" cy="46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T:\ASM\16-2509-ASM PPT Master - Schlussfolie\MyASM.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827584" y="2679762"/>
            <a:ext cx="755076" cy="792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userDrawn="1"/>
        </p:nvSpPr>
        <p:spPr>
          <a:xfrm>
            <a:off x="3635876" y="2175710"/>
            <a:ext cx="1260160" cy="246221"/>
          </a:xfrm>
          <a:prstGeom prst="rect">
            <a:avLst/>
          </a:prstGeom>
          <a:solidFill>
            <a:schemeClr val="bg1"/>
          </a:solidFill>
        </p:spPr>
        <p:txBody>
          <a:bodyPr wrap="square" rtlCol="0">
            <a:spAutoFit/>
          </a:bodyPr>
          <a:lstStyle>
            <a:defPPr>
              <a:defRPr lang="en-US"/>
            </a:defPPr>
            <a:lvl1pPr>
              <a:defRPr sz="1000" b="1" i="0" u="none" strike="noStrike" baseline="0">
                <a:solidFill>
                  <a:schemeClr val="bg1"/>
                </a:solidFill>
              </a:defRPr>
            </a:lvl1pPr>
          </a:lstStyle>
          <a:p>
            <a:pPr lvl="0"/>
            <a:r>
              <a:rPr lang="en-US" dirty="0">
                <a:solidFill>
                  <a:schemeClr val="tx1"/>
                </a:solidFill>
              </a:rPr>
              <a:t>ASM </a:t>
            </a:r>
            <a:r>
              <a:rPr lang="en-US" dirty="0">
                <a:solidFill>
                  <a:schemeClr val="tx1"/>
                </a:solidFill>
                <a:hlinkClick r:id="rId17"/>
              </a:rPr>
              <a:t>Newsletter</a:t>
            </a:r>
            <a:endParaRPr lang="en-US" dirty="0">
              <a:solidFill>
                <a:schemeClr val="tx1"/>
              </a:solidFill>
            </a:endParaRPr>
          </a:p>
        </p:txBody>
      </p:sp>
      <p:pic>
        <p:nvPicPr>
          <p:cNvPr id="23" name="Picture 4" descr="T:\ASM\16-2509-ASM PPT Master - Schlussfolie\Newsletter.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207514" y="2071704"/>
            <a:ext cx="467999" cy="46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4491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p:bg>
      <p:bgPr>
        <a:solidFill>
          <a:schemeClr val="bg2"/>
        </a:solidFill>
        <a:effectLst/>
      </p:bgPr>
    </p:bg>
    <p:spTree>
      <p:nvGrpSpPr>
        <p:cNvPr id="1" name=""/>
        <p:cNvGrpSpPr/>
        <p:nvPr/>
      </p:nvGrpSpPr>
      <p:grpSpPr>
        <a:xfrm>
          <a:off x="0" y="0"/>
          <a:ext cx="0" cy="0"/>
          <a:chOff x="0" y="0"/>
          <a:chExt cx="0" cy="0"/>
        </a:xfrm>
      </p:grpSpPr>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de-DE" sz="1600" b="1">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de-DE" sz="1600" b="1">
              <a:solidFill>
                <a:srgbClr val="000000"/>
              </a:solidFill>
              <a:cs typeface="Arial" charset="0"/>
            </a:endParaRPr>
          </a:p>
        </p:txBody>
      </p:sp>
      <p:sp>
        <p:nvSpPr>
          <p:cNvPr id="8196" name="Rectangle 4"/>
          <p:cNvSpPr>
            <a:spLocks noGrp="1" noChangeArrowheads="1"/>
          </p:cNvSpPr>
          <p:nvPr>
            <p:ph type="ctrTitle"/>
          </p:nvPr>
        </p:nvSpPr>
        <p:spPr>
          <a:xfrm>
            <a:off x="432000" y="3623387"/>
            <a:ext cx="8280400" cy="767953"/>
          </a:xfrm>
          <a:noFill/>
          <a:extLst>
            <a:ext uri="{909E8E84-426E-40DD-AFC4-6F175D3DCCD1}">
              <a14:hiddenFill xmlns:a14="http://schemas.microsoft.com/office/drawing/2010/main">
                <a:solidFill>
                  <a:schemeClr val="bg2"/>
                </a:solidFill>
              </a14:hiddenFill>
            </a:ext>
          </a:extLst>
        </p:spPr>
        <p:txBody>
          <a:bodyPr lIns="0" tIns="0" rIns="0" anchor="b"/>
          <a:lstStyle>
            <a:lvl1pPr>
              <a:defRPr sz="3600"/>
            </a:lvl1pPr>
          </a:lstStyle>
          <a:p>
            <a:pPr lvl="0"/>
            <a:r>
              <a:rPr lang="de-DE" noProof="0"/>
              <a:t>Titelmasterformat durch Klicken bearbeiten</a:t>
            </a:r>
            <a:endParaRPr lang="de-DE" noProof="0" dirty="0"/>
          </a:p>
        </p:txBody>
      </p:sp>
      <p:sp>
        <p:nvSpPr>
          <p:cNvPr id="8197" name="Rectangle 5"/>
          <p:cNvSpPr>
            <a:spLocks noGrp="1" noChangeArrowheads="1"/>
          </p:cNvSpPr>
          <p:nvPr>
            <p:ph type="subTitle" idx="1"/>
          </p:nvPr>
        </p:nvSpPr>
        <p:spPr>
          <a:xfrm>
            <a:off x="432000" y="4486327"/>
            <a:ext cx="8280400" cy="528638"/>
          </a:xfrm>
        </p:spPr>
        <p:txBody>
          <a:bodyPr lIns="0"/>
          <a:lstStyle>
            <a:lvl1pPr>
              <a:lnSpc>
                <a:spcPct val="90000"/>
              </a:lnSpc>
              <a:spcBef>
                <a:spcPct val="0"/>
              </a:spcBef>
              <a:defRPr sz="2000" b="0">
                <a:solidFill>
                  <a:schemeClr val="tx1"/>
                </a:solidFill>
              </a:defRPr>
            </a:lvl1pPr>
          </a:lstStyle>
          <a:p>
            <a:pPr lvl="0"/>
            <a:r>
              <a:rPr lang="de-DE" noProof="0"/>
              <a:t>Formatvorlage des Untertitelmasters durch Klicken bearbeiten</a:t>
            </a:r>
            <a:endParaRPr lang="de-DE" noProof="0" dirty="0"/>
          </a:p>
        </p:txBody>
      </p:sp>
      <p:sp>
        <p:nvSpPr>
          <p:cNvPr id="12" name="Rechteck 11"/>
          <p:cNvSpPr/>
          <p:nvPr userDrawn="1"/>
        </p:nvSpPr>
        <p:spPr bwMode="auto">
          <a:xfrm>
            <a:off x="0" y="3104864"/>
            <a:ext cx="9144000" cy="378000"/>
          </a:xfrm>
          <a:prstGeom prst="rect">
            <a:avLst/>
          </a:prstGeom>
          <a:solidFill>
            <a:schemeClr val="accent1"/>
          </a:solidFill>
          <a:ln>
            <a:noFill/>
          </a:ln>
          <a:effec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932747" y="3147950"/>
            <a:ext cx="1003197" cy="291839"/>
          </a:xfrm>
          <a:prstGeom prst="rect">
            <a:avLst/>
          </a:prstGeom>
        </p:spPr>
      </p:pic>
      <p:pic>
        <p:nvPicPr>
          <p:cNvPr id="10" name="Picture 3" descr="T:\ASM\_Logo &amp; CD\Logos SIPLACE\20110311_ASM_Siplace_Logos\20110311_ASM_Siplace_Logos\110311_Logo_nnn_weiß\110311_Logo_nnn_weiß.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32000" y="3212030"/>
            <a:ext cx="642466" cy="1647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T:\ASM\13-2057-ASM PPT\Titel.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0" y="-1"/>
            <a:ext cx="9144000" cy="3104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9431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en-US"/>
              <a:t>ASM Assembly Systems</a:t>
            </a:r>
            <a:endParaRPr lang="de-DE"/>
          </a:p>
        </p:txBody>
      </p:sp>
      <p:pic>
        <p:nvPicPr>
          <p:cNvPr id="7" name="Picture 12" descr="101206_ASM_Logo_V2_weiss"/>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932738" y="38983"/>
            <a:ext cx="1008062" cy="300038"/>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p:cNvSpPr/>
          <p:nvPr userDrawn="1"/>
        </p:nvSpPr>
        <p:spPr bwMode="auto">
          <a:xfrm>
            <a:off x="0" y="0"/>
            <a:ext cx="9144000" cy="378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0" name="Grafik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2738" y="43085"/>
            <a:ext cx="1003198" cy="291839"/>
          </a:xfrm>
          <a:prstGeom prst="rect">
            <a:avLst/>
          </a:prstGeom>
        </p:spPr>
      </p:pic>
      <p:sp>
        <p:nvSpPr>
          <p:cNvPr id="12" name="Inhaltsplatzhalter 11"/>
          <p:cNvSpPr>
            <a:spLocks noGrp="1"/>
          </p:cNvSpPr>
          <p:nvPr>
            <p:ph sz="quarter" idx="13"/>
          </p:nvPr>
        </p:nvSpPr>
        <p:spPr>
          <a:xfrm>
            <a:off x="3672000" y="1770944"/>
            <a:ext cx="5040000" cy="266579"/>
          </a:xfrm>
        </p:spPr>
        <p:txBody>
          <a:bodyPr/>
          <a:lstStyle>
            <a:lvl1pPr>
              <a:defRPr sz="1400">
                <a:solidFill>
                  <a:schemeClr val="accent1"/>
                </a:solidFill>
              </a:defRPr>
            </a:lvl1pPr>
            <a:lvl2pPr>
              <a:defRPr sz="1400"/>
            </a:lvl2pPr>
            <a:lvl3pPr>
              <a:defRPr sz="1400"/>
            </a:lvl3pPr>
            <a:lvl4pPr>
              <a:defRPr sz="1400"/>
            </a:lvl4pPr>
            <a:lvl5pPr>
              <a:defRPr sz="14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platzhalter 13"/>
          <p:cNvSpPr>
            <a:spLocks noGrp="1"/>
          </p:cNvSpPr>
          <p:nvPr>
            <p:ph type="body" sz="quarter" idx="14"/>
          </p:nvPr>
        </p:nvSpPr>
        <p:spPr>
          <a:xfrm>
            <a:off x="4582054" y="2396846"/>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37" name="Textplatzhalter 13"/>
          <p:cNvSpPr>
            <a:spLocks noGrp="1"/>
          </p:cNvSpPr>
          <p:nvPr>
            <p:ph type="body" sz="quarter" idx="15"/>
          </p:nvPr>
        </p:nvSpPr>
        <p:spPr>
          <a:xfrm>
            <a:off x="4582054" y="2638410"/>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38" name="Textplatzhalter 13"/>
          <p:cNvSpPr>
            <a:spLocks noGrp="1"/>
          </p:cNvSpPr>
          <p:nvPr>
            <p:ph type="body" sz="quarter" idx="16"/>
          </p:nvPr>
        </p:nvSpPr>
        <p:spPr>
          <a:xfrm>
            <a:off x="4582054" y="2879975"/>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39" name="Textplatzhalter 13"/>
          <p:cNvSpPr>
            <a:spLocks noGrp="1"/>
          </p:cNvSpPr>
          <p:nvPr>
            <p:ph type="body" sz="quarter" idx="17"/>
          </p:nvPr>
        </p:nvSpPr>
        <p:spPr>
          <a:xfrm>
            <a:off x="4582054" y="3121539"/>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0" name="Textplatzhalter 13"/>
          <p:cNvSpPr>
            <a:spLocks noGrp="1"/>
          </p:cNvSpPr>
          <p:nvPr>
            <p:ph type="body" sz="quarter" idx="18"/>
          </p:nvPr>
        </p:nvSpPr>
        <p:spPr>
          <a:xfrm>
            <a:off x="4582054" y="3363104"/>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1" name="Textplatzhalter 13"/>
          <p:cNvSpPr>
            <a:spLocks noGrp="1"/>
          </p:cNvSpPr>
          <p:nvPr>
            <p:ph type="body" sz="quarter" idx="19"/>
          </p:nvPr>
        </p:nvSpPr>
        <p:spPr>
          <a:xfrm>
            <a:off x="4582054" y="3604668"/>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2" name="Textplatzhalter 13"/>
          <p:cNvSpPr>
            <a:spLocks noGrp="1"/>
          </p:cNvSpPr>
          <p:nvPr>
            <p:ph type="body" sz="quarter" idx="20"/>
          </p:nvPr>
        </p:nvSpPr>
        <p:spPr>
          <a:xfrm>
            <a:off x="4582054" y="3846233"/>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3" name="Textplatzhalter 13"/>
          <p:cNvSpPr>
            <a:spLocks noGrp="1"/>
          </p:cNvSpPr>
          <p:nvPr>
            <p:ph type="body" sz="quarter" idx="21"/>
          </p:nvPr>
        </p:nvSpPr>
        <p:spPr>
          <a:xfrm>
            <a:off x="4582054" y="4087797"/>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4" name="Textplatzhalter 13"/>
          <p:cNvSpPr>
            <a:spLocks noGrp="1"/>
          </p:cNvSpPr>
          <p:nvPr>
            <p:ph type="body" sz="quarter" idx="22"/>
          </p:nvPr>
        </p:nvSpPr>
        <p:spPr>
          <a:xfrm>
            <a:off x="4582054" y="4329362"/>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6" name="Textplatzhalter 13"/>
          <p:cNvSpPr>
            <a:spLocks noGrp="1"/>
          </p:cNvSpPr>
          <p:nvPr>
            <p:ph type="body" sz="quarter" idx="23"/>
          </p:nvPr>
        </p:nvSpPr>
        <p:spPr>
          <a:xfrm>
            <a:off x="4582054" y="4570927"/>
            <a:ext cx="4570412" cy="216000"/>
          </a:xfrm>
          <a:solidFill>
            <a:schemeClr val="bg2"/>
          </a:solidFill>
          <a:ln>
            <a:noFill/>
          </a:ln>
          <a:effectLst/>
          <a:extLst/>
        </p:spPr>
        <p:txBody>
          <a:bodyPr wrap="none" lIns="90000" tIns="0" rIns="0" bIns="0" anchor="ctr"/>
          <a:lstStyle>
            <a:lvl1pPr>
              <a:lnSpc>
                <a:spcPct val="100000"/>
              </a:lnSpc>
              <a:defRPr lang="de-DE" sz="1400" kern="1200" dirty="0" smtClean="0">
                <a:solidFill>
                  <a:srgbClr val="000000"/>
                </a:solidFill>
                <a:latin typeface="Arial" charset="0"/>
                <a:cs typeface="Arial" charset="0"/>
              </a:defRPr>
            </a:lvl1pPr>
            <a:lvl2pPr marL="457200" indent="-457200">
              <a:lnSpc>
                <a:spcPct val="100000"/>
              </a:lnSpc>
              <a:tabLst/>
              <a:defRPr lang="de-DE" sz="1400" kern="1200" dirty="0">
                <a:solidFill>
                  <a:schemeClr val="bg1"/>
                </a:solidFill>
                <a:latin typeface="Arial" charset="0"/>
                <a:ea typeface="+mn-ea"/>
                <a:cs typeface="Arial" charset="0"/>
              </a:defRPr>
            </a:lvl2pPr>
          </a:lstStyle>
          <a:p>
            <a:pPr lvl="0">
              <a:lnSpc>
                <a:spcPct val="120000"/>
              </a:lnSpc>
              <a:spcBef>
                <a:spcPct val="0"/>
              </a:spcBef>
            </a:pPr>
            <a:r>
              <a:rPr lang="de-DE"/>
              <a:t>Textmasterformat bearbeiten</a:t>
            </a:r>
          </a:p>
          <a:p>
            <a:pPr lvl="1">
              <a:lnSpc>
                <a:spcPct val="120000"/>
              </a:lnSpc>
              <a:spcBef>
                <a:spcPct val="0"/>
              </a:spcBef>
            </a:pPr>
            <a:r>
              <a:rPr lang="de-DE"/>
              <a:t>Zweite Ebene</a:t>
            </a:r>
          </a:p>
        </p:txBody>
      </p:sp>
      <p:sp>
        <p:nvSpPr>
          <p:cNvPr id="47" name="Rectangle 4"/>
          <p:cNvSpPr>
            <a:spLocks noGrp="1" noChangeArrowheads="1"/>
          </p:cNvSpPr>
          <p:nvPr>
            <p:ph type="title"/>
          </p:nvPr>
        </p:nvSpPr>
        <p:spPr bwMode="gray">
          <a:xfrm>
            <a:off x="3671999" y="681038"/>
            <a:ext cx="5040000" cy="101855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lvl1pPr>
              <a:defRPr sz="3600"/>
            </a:lvl1pPr>
          </a:lstStyle>
          <a:p>
            <a:pPr lvl="0"/>
            <a:r>
              <a:rPr lang="de-DE"/>
              <a:t>Titelmasterformat durch Klicken bearbeiten</a:t>
            </a:r>
            <a:endParaRPr lang="de-DE" dirty="0"/>
          </a:p>
        </p:txBody>
      </p:sp>
      <p:pic>
        <p:nvPicPr>
          <p:cNvPr id="20" name="Picture 3" descr="T:\ASM\_Logo &amp; CD\Logos SIPLACE\20110311_ASM_Siplace_Logos\20110311_ASM_Siplace_Logos\110311_Logo_nnn_weiß\110311_Logo_nnn_weiß.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32000" y="106134"/>
            <a:ext cx="642466" cy="164700"/>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platzhalter 4"/>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gray">
          <a:xfrm>
            <a:off x="0" y="378000"/>
            <a:ext cx="3420000" cy="476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24977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1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lvl1pPr>
              <a:spcBef>
                <a:spcPts val="1200"/>
              </a:spcBef>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Foliennummernplatzhalter 3"/>
          <p:cNvSpPr>
            <a:spLocks noGrp="1"/>
          </p:cNvSpPr>
          <p:nvPr>
            <p:ph type="sldNum" sz="quarter" idx="10"/>
          </p:nvPr>
        </p:nvSpPr>
        <p:spPr/>
        <p:txBody>
          <a:bodyPr/>
          <a:lstStyle>
            <a:lvl1pPr>
              <a:defRPr/>
            </a:lvl1pPr>
          </a:lstStyle>
          <a:p>
            <a:r>
              <a:rPr lang="de-DE"/>
              <a:t>Page </a:t>
            </a:r>
            <a:fld id="{C663A403-D06A-4F87-B600-BD0A83EA532E}" type="slidenum">
              <a:rPr lang="de-DE"/>
              <a:pPr/>
              <a:t>‹Nr.›</a:t>
            </a:fld>
            <a:endParaRPr lang="de-DE"/>
          </a:p>
        </p:txBody>
      </p:sp>
      <p:sp>
        <p:nvSpPr>
          <p:cNvPr id="5" name="Fußzeilenplatzhalter 4"/>
          <p:cNvSpPr>
            <a:spLocks noGrp="1"/>
          </p:cNvSpPr>
          <p:nvPr>
            <p:ph type="ftr" sz="quarter" idx="11"/>
          </p:nvPr>
        </p:nvSpPr>
        <p:spPr/>
        <p:txBody>
          <a:bodyPr/>
          <a:lstStyle>
            <a:lvl1pPr>
              <a:defRPr/>
            </a:lvl1pPr>
          </a:lstStyle>
          <a:p>
            <a:r>
              <a:rPr lang="en-US"/>
              <a:t>ASM Assembly Systems</a:t>
            </a:r>
            <a:endParaRPr lang="de-DE"/>
          </a:p>
        </p:txBody>
      </p:sp>
      <p:sp>
        <p:nvSpPr>
          <p:cNvPr id="6" name="Datumsplatzhalter 5"/>
          <p:cNvSpPr>
            <a:spLocks noGrp="1"/>
          </p:cNvSpPr>
          <p:nvPr>
            <p:ph type="dt" sz="half" idx="12"/>
          </p:nvPr>
        </p:nvSpPr>
        <p:spPr/>
        <p:txBody>
          <a:bodyPr/>
          <a:lstStyle>
            <a:lvl1pPr>
              <a:defRPr/>
            </a:lvl1pPr>
          </a:lstStyle>
          <a:p>
            <a:fld id="{DB12E151-C1C1-4FB7-9937-B9A78930439E}" type="datetime1">
              <a:rPr lang="en-GB" smtClean="0"/>
              <a:pPr/>
              <a:t>26/01/2018</a:t>
            </a:fld>
            <a:endParaRPr lang="de-DE"/>
          </a:p>
        </p:txBody>
      </p:sp>
    </p:spTree>
    <p:extLst>
      <p:ext uri="{BB962C8B-B14F-4D97-AF65-F5344CB8AC3E}">
        <p14:creationId xmlns:p14="http://schemas.microsoft.com/office/powerpoint/2010/main" val="1691260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7A0BE77-75F0-4DF4-8DF8-78EF4EC1BF68}"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655" y="1563693"/>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2296987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Container, Teas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431800" y="1214441"/>
            <a:ext cx="8280400" cy="30314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Foliennummernplatzhalter 3"/>
          <p:cNvSpPr>
            <a:spLocks noGrp="1"/>
          </p:cNvSpPr>
          <p:nvPr>
            <p:ph type="sldNum" sz="quarter" idx="10"/>
          </p:nvPr>
        </p:nvSpPr>
        <p:spPr/>
        <p:txBody>
          <a:bodyPr/>
          <a:lstStyle>
            <a:lvl1pPr>
              <a:defRPr/>
            </a:lvl1pPr>
          </a:lstStyle>
          <a:p>
            <a:r>
              <a:rPr lang="de-DE"/>
              <a:t>Page </a:t>
            </a:r>
            <a:fld id="{C663A403-D06A-4F87-B600-BD0A83EA532E}" type="slidenum">
              <a:rPr lang="de-DE"/>
              <a:pPr/>
              <a:t>‹Nr.›</a:t>
            </a:fld>
            <a:endParaRPr lang="de-DE"/>
          </a:p>
        </p:txBody>
      </p:sp>
      <p:sp>
        <p:nvSpPr>
          <p:cNvPr id="5" name="Fußzeilenplatzhalter 4"/>
          <p:cNvSpPr>
            <a:spLocks noGrp="1"/>
          </p:cNvSpPr>
          <p:nvPr>
            <p:ph type="ftr" sz="quarter" idx="11"/>
          </p:nvPr>
        </p:nvSpPr>
        <p:spPr/>
        <p:txBody>
          <a:bodyPr/>
          <a:lstStyle>
            <a:lvl1pPr>
              <a:defRPr/>
            </a:lvl1pPr>
          </a:lstStyle>
          <a:p>
            <a:r>
              <a:rPr lang="en-US"/>
              <a:t>ASM Assembly Systems</a:t>
            </a:r>
            <a:endParaRPr lang="de-DE"/>
          </a:p>
        </p:txBody>
      </p:sp>
      <p:sp>
        <p:nvSpPr>
          <p:cNvPr id="6" name="Datumsplatzhalter 5"/>
          <p:cNvSpPr>
            <a:spLocks noGrp="1"/>
          </p:cNvSpPr>
          <p:nvPr>
            <p:ph type="dt" sz="half" idx="12"/>
          </p:nvPr>
        </p:nvSpPr>
        <p:spPr/>
        <p:txBody>
          <a:bodyPr/>
          <a:lstStyle>
            <a:lvl1pPr>
              <a:defRPr/>
            </a:lvl1pPr>
          </a:lstStyle>
          <a:p>
            <a:fld id="{25FA0997-0482-431E-8E4E-15FDE79A162B}" type="datetime1">
              <a:rPr lang="en-GB" smtClean="0"/>
              <a:pPr/>
              <a:t>26/01/2018</a:t>
            </a:fld>
            <a:endParaRPr lang="de-DE"/>
          </a:p>
        </p:txBody>
      </p:sp>
      <p:sp>
        <p:nvSpPr>
          <p:cNvPr id="8" name="Textplatzhalter 7"/>
          <p:cNvSpPr>
            <a:spLocks noGrp="1"/>
          </p:cNvSpPr>
          <p:nvPr>
            <p:ph type="body" sz="quarter" idx="13"/>
          </p:nvPr>
        </p:nvSpPr>
        <p:spPr>
          <a:xfrm>
            <a:off x="431800" y="4252500"/>
            <a:ext cx="8712200" cy="540000"/>
          </a:xfrm>
          <a:solidFill>
            <a:schemeClr val="accent1"/>
          </a:solidFill>
        </p:spPr>
        <p:txBody>
          <a:bodyPr lIns="270000" anchor="ctr" anchorCtr="0"/>
          <a:lstStyle>
            <a:lvl1pPr>
              <a:spcBef>
                <a:spcPts val="200"/>
              </a:spcBef>
              <a:defRPr>
                <a:solidFill>
                  <a:schemeClr val="bg1"/>
                </a:solidFill>
              </a:defRPr>
            </a:lvl1pPr>
            <a:lvl2pPr marL="268288" indent="-266700">
              <a:spcBef>
                <a:spcPts val="200"/>
              </a:spcBef>
              <a:buClr>
                <a:schemeClr val="bg1"/>
              </a:buClr>
              <a:buSzPct val="80000"/>
              <a:buFont typeface="Wingdings 2" pitchFamily="18" charset="2"/>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p:txBody>
      </p:sp>
    </p:spTree>
    <p:extLst>
      <p:ext uri="{BB962C8B-B14F-4D97-AF65-F5344CB8AC3E}">
        <p14:creationId xmlns:p14="http://schemas.microsoft.com/office/powerpoint/2010/main" val="31053053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ontainer, Subhea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AF56CABD-D8E7-4D76-9563-A13665F0792F}" type="datetime1">
              <a:rPr lang="en-GB" smtClean="0"/>
              <a:pPr/>
              <a:t>26/01/2018</a:t>
            </a:fld>
            <a:endParaRPr lang="de-DE"/>
          </a:p>
        </p:txBody>
      </p:sp>
      <p:sp>
        <p:nvSpPr>
          <p:cNvPr id="9" name="Inhaltsplatzhalter 8"/>
          <p:cNvSpPr>
            <a:spLocks noGrp="1"/>
          </p:cNvSpPr>
          <p:nvPr>
            <p:ph sz="quarter" idx="13"/>
          </p:nvPr>
        </p:nvSpPr>
        <p:spPr>
          <a:xfrm>
            <a:off x="432000" y="1593000"/>
            <a:ext cx="8283600" cy="3199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2"/>
          <p:cNvSpPr>
            <a:spLocks noGrp="1"/>
          </p:cNvSpPr>
          <p:nvPr>
            <p:ph type="body" idx="1"/>
          </p:nvPr>
        </p:nvSpPr>
        <p:spPr>
          <a:xfrm>
            <a:off x="432000" y="1213575"/>
            <a:ext cx="8283600" cy="378042"/>
          </a:xfrm>
        </p:spPr>
        <p:txBody>
          <a:bodyPr anchor="t" anchorCtr="0"/>
          <a:lstStyle>
            <a:lvl1pPr marL="0" indent="0">
              <a:buNone/>
              <a:tabLst/>
              <a:defRPr sz="1600" b="1"/>
            </a:lvl1pPr>
            <a:lvl2pPr marL="0" indent="0">
              <a:spcBef>
                <a:spcPts val="0"/>
              </a:spcBef>
              <a:buNone/>
              <a:tabLst/>
              <a:defRPr sz="16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masterformat bearbeiten</a:t>
            </a:r>
          </a:p>
        </p:txBody>
      </p:sp>
    </p:spTree>
    <p:extLst>
      <p:ext uri="{BB962C8B-B14F-4D97-AF65-F5344CB8AC3E}">
        <p14:creationId xmlns:p14="http://schemas.microsoft.com/office/powerpoint/2010/main" val="24390001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ontainer, Subhead, Teas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75655A72-FDBA-46F6-A8CA-815CF26DBFE3}" type="datetime1">
              <a:rPr lang="en-GB" smtClean="0"/>
              <a:pPr/>
              <a:t>26/01/2018</a:t>
            </a:fld>
            <a:endParaRPr lang="de-DE"/>
          </a:p>
        </p:txBody>
      </p:sp>
      <p:sp>
        <p:nvSpPr>
          <p:cNvPr id="9" name="Inhaltsplatzhalter 8"/>
          <p:cNvSpPr>
            <a:spLocks noGrp="1"/>
          </p:cNvSpPr>
          <p:nvPr>
            <p:ph sz="quarter" idx="13"/>
          </p:nvPr>
        </p:nvSpPr>
        <p:spPr>
          <a:xfrm>
            <a:off x="432000" y="1593000"/>
            <a:ext cx="8283600" cy="3199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2"/>
          <p:cNvSpPr>
            <a:spLocks noGrp="1"/>
          </p:cNvSpPr>
          <p:nvPr>
            <p:ph type="body" idx="1"/>
          </p:nvPr>
        </p:nvSpPr>
        <p:spPr>
          <a:xfrm>
            <a:off x="432000" y="1213575"/>
            <a:ext cx="8283600" cy="37804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stStyle>
          <a:p>
            <a:pPr marL="0" lvl="0" indent="0">
              <a:buNone/>
              <a:tabLst/>
            </a:pPr>
            <a:r>
              <a:rPr lang="de-DE"/>
              <a:t>Textmasterformat bearbeiten</a:t>
            </a:r>
          </a:p>
        </p:txBody>
      </p:sp>
      <p:sp>
        <p:nvSpPr>
          <p:cNvPr id="12" name="Textplatzhalter 7"/>
          <p:cNvSpPr>
            <a:spLocks noGrp="1"/>
          </p:cNvSpPr>
          <p:nvPr>
            <p:ph type="body" sz="quarter" idx="16"/>
          </p:nvPr>
        </p:nvSpPr>
        <p:spPr>
          <a:xfrm>
            <a:off x="431800" y="4252500"/>
            <a:ext cx="8712200" cy="540000"/>
          </a:xfrm>
          <a:solidFill>
            <a:schemeClr val="accent1"/>
          </a:solidFill>
        </p:spPr>
        <p:txBody>
          <a:bodyPr lIns="270000" anchor="ctr" anchorCtr="0"/>
          <a:lstStyle>
            <a:lvl1pPr>
              <a:spcBef>
                <a:spcPts val="200"/>
              </a:spcBef>
              <a:defRPr>
                <a:solidFill>
                  <a:schemeClr val="bg1"/>
                </a:solidFill>
              </a:defRPr>
            </a:lvl1pPr>
            <a:lvl2pPr marL="268288" indent="-266700">
              <a:spcBef>
                <a:spcPts val="200"/>
              </a:spcBef>
              <a:buClr>
                <a:schemeClr val="bg1"/>
              </a:buClr>
              <a:buSzPct val="80000"/>
              <a:buFont typeface="Wingdings 2" pitchFamily="18" charset="2"/>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p:txBody>
      </p:sp>
    </p:spTree>
    <p:extLst>
      <p:ext uri="{BB962C8B-B14F-4D97-AF65-F5344CB8AC3E}">
        <p14:creationId xmlns:p14="http://schemas.microsoft.com/office/powerpoint/2010/main" val="10914348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E4449368-D1A2-4FA4-A1A5-0530B2BEBFE0}" type="datetime1">
              <a:rPr lang="en-GB" smtClean="0"/>
              <a:pPr/>
              <a:t>26/01/2018</a:t>
            </a:fld>
            <a:endParaRPr lang="de-DE"/>
          </a:p>
        </p:txBody>
      </p:sp>
      <p:sp>
        <p:nvSpPr>
          <p:cNvPr id="9" name="Inhaltsplatzhalter 8"/>
          <p:cNvSpPr>
            <a:spLocks noGrp="1"/>
          </p:cNvSpPr>
          <p:nvPr>
            <p:ph sz="quarter" idx="13"/>
          </p:nvPr>
        </p:nvSpPr>
        <p:spPr>
          <a:xfrm>
            <a:off x="432000" y="1213575"/>
            <a:ext cx="403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4680200" y="1213575"/>
            <a:ext cx="403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5685587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ainer, Teas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01BC8FFD-1F89-49C4-9C70-2C9B359D5315}" type="datetime1">
              <a:rPr lang="en-GB" smtClean="0"/>
              <a:pPr/>
              <a:t>26/01/2018</a:t>
            </a:fld>
            <a:endParaRPr lang="de-DE"/>
          </a:p>
        </p:txBody>
      </p:sp>
      <p:sp>
        <p:nvSpPr>
          <p:cNvPr id="9" name="Inhaltsplatzhalter 8"/>
          <p:cNvSpPr>
            <a:spLocks noGrp="1"/>
          </p:cNvSpPr>
          <p:nvPr>
            <p:ph sz="quarter" idx="13"/>
          </p:nvPr>
        </p:nvSpPr>
        <p:spPr>
          <a:xfrm>
            <a:off x="432000" y="1213575"/>
            <a:ext cx="403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4680200" y="1213575"/>
            <a:ext cx="403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7"/>
          <p:cNvSpPr>
            <a:spLocks noGrp="1"/>
          </p:cNvSpPr>
          <p:nvPr>
            <p:ph type="body" sz="quarter" idx="16"/>
          </p:nvPr>
        </p:nvSpPr>
        <p:spPr>
          <a:xfrm>
            <a:off x="431800" y="4252500"/>
            <a:ext cx="8712200" cy="540000"/>
          </a:xfrm>
          <a:solidFill>
            <a:schemeClr val="accent1"/>
          </a:solidFill>
        </p:spPr>
        <p:txBody>
          <a:bodyPr lIns="270000" anchor="ctr" anchorCtr="0"/>
          <a:lstStyle>
            <a:lvl1pPr>
              <a:spcBef>
                <a:spcPts val="200"/>
              </a:spcBef>
              <a:defRPr>
                <a:solidFill>
                  <a:schemeClr val="bg1"/>
                </a:solidFill>
              </a:defRPr>
            </a:lvl1pPr>
            <a:lvl2pPr marL="268288" indent="-266700">
              <a:spcBef>
                <a:spcPts val="200"/>
              </a:spcBef>
              <a:buClr>
                <a:schemeClr val="bg1"/>
              </a:buClr>
              <a:buSzPct val="80000"/>
              <a:buFont typeface="Wingdings 2" pitchFamily="18" charset="2"/>
              <a:buChar char=""/>
              <a:defRPr>
                <a:solidFill>
                  <a:schemeClr val="bg1"/>
                </a:solidFill>
              </a:defRPr>
            </a:lvl2pPr>
            <a:lvl3pPr marL="277813" indent="-274638">
              <a:spcBef>
                <a:spcPts val="200"/>
              </a:spcBef>
              <a:buClr>
                <a:schemeClr val="bg1"/>
              </a:buClr>
              <a:buFont typeface="Wingdings 2" pitchFamily="18" charset="2"/>
              <a:buChar cha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4146366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ntainer, Subhea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F9C31CEC-880C-4227-A72C-8CAC4914A66C}" type="datetime1">
              <a:rPr lang="en-GB" smtClean="0"/>
              <a:pPr/>
              <a:t>26/01/2018</a:t>
            </a:fld>
            <a:endParaRPr lang="de-DE"/>
          </a:p>
        </p:txBody>
      </p:sp>
      <p:sp>
        <p:nvSpPr>
          <p:cNvPr id="9" name="Inhaltsplatzhalter 8"/>
          <p:cNvSpPr>
            <a:spLocks noGrp="1"/>
          </p:cNvSpPr>
          <p:nvPr>
            <p:ph sz="quarter" idx="13"/>
          </p:nvPr>
        </p:nvSpPr>
        <p:spPr>
          <a:xfrm>
            <a:off x="432000" y="1593000"/>
            <a:ext cx="4032000" cy="3199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4680200" y="1593000"/>
            <a:ext cx="4032000" cy="3199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2"/>
          <p:cNvSpPr>
            <a:spLocks noGrp="1"/>
          </p:cNvSpPr>
          <p:nvPr>
            <p:ph type="body" idx="1"/>
          </p:nvPr>
        </p:nvSpPr>
        <p:spPr>
          <a:xfrm>
            <a:off x="432000" y="1213575"/>
            <a:ext cx="4032000" cy="37804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stStyle>
          <a:p>
            <a:pPr marL="0" lvl="0" indent="0">
              <a:buNone/>
              <a:tabLst/>
            </a:pPr>
            <a:r>
              <a:rPr lang="de-DE"/>
              <a:t>Textmasterformat bearbeiten</a:t>
            </a:r>
          </a:p>
        </p:txBody>
      </p:sp>
      <p:sp>
        <p:nvSpPr>
          <p:cNvPr id="10" name="Textplatzhalter 4"/>
          <p:cNvSpPr>
            <a:spLocks noGrp="1"/>
          </p:cNvSpPr>
          <p:nvPr>
            <p:ph type="body" sz="quarter" idx="3"/>
          </p:nvPr>
        </p:nvSpPr>
        <p:spPr>
          <a:xfrm>
            <a:off x="4680200" y="1213575"/>
            <a:ext cx="4032000" cy="378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stStyle>
          <a:p>
            <a:pPr marL="0" lvl="0" indent="0">
              <a:buNone/>
              <a:tabLst/>
            </a:pPr>
            <a:r>
              <a:rPr lang="de-DE"/>
              <a:t>Textmasterformat bearbeiten</a:t>
            </a:r>
          </a:p>
        </p:txBody>
      </p:sp>
    </p:spTree>
    <p:extLst>
      <p:ext uri="{BB962C8B-B14F-4D97-AF65-F5344CB8AC3E}">
        <p14:creationId xmlns:p14="http://schemas.microsoft.com/office/powerpoint/2010/main" val="26576604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ntainer, Subhead, Teas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26E6138F-BE4F-4591-AE14-B700ECD9EBF8}" type="datetime1">
              <a:rPr lang="en-GB" smtClean="0"/>
              <a:pPr/>
              <a:t>26/01/2018</a:t>
            </a:fld>
            <a:endParaRPr lang="de-DE"/>
          </a:p>
        </p:txBody>
      </p:sp>
      <p:sp>
        <p:nvSpPr>
          <p:cNvPr id="9" name="Inhaltsplatzhalter 8"/>
          <p:cNvSpPr>
            <a:spLocks noGrp="1"/>
          </p:cNvSpPr>
          <p:nvPr>
            <p:ph sz="quarter" idx="13"/>
          </p:nvPr>
        </p:nvSpPr>
        <p:spPr>
          <a:xfrm>
            <a:off x="432000" y="1593000"/>
            <a:ext cx="4032000" cy="3199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4680200" y="1593000"/>
            <a:ext cx="4032000" cy="3199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2"/>
          <p:cNvSpPr>
            <a:spLocks noGrp="1"/>
          </p:cNvSpPr>
          <p:nvPr>
            <p:ph type="body" idx="1"/>
          </p:nvPr>
        </p:nvSpPr>
        <p:spPr>
          <a:xfrm>
            <a:off x="432000" y="1213575"/>
            <a:ext cx="4032000" cy="37804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stStyle>
          <a:p>
            <a:pPr marL="0" lvl="0" indent="0">
              <a:buNone/>
              <a:tabLst/>
            </a:pPr>
            <a:r>
              <a:rPr lang="de-DE"/>
              <a:t>Textmasterformat bearbeiten</a:t>
            </a:r>
          </a:p>
        </p:txBody>
      </p:sp>
      <p:sp>
        <p:nvSpPr>
          <p:cNvPr id="10" name="Textplatzhalter 4"/>
          <p:cNvSpPr>
            <a:spLocks noGrp="1"/>
          </p:cNvSpPr>
          <p:nvPr>
            <p:ph type="body" sz="quarter" idx="3"/>
          </p:nvPr>
        </p:nvSpPr>
        <p:spPr>
          <a:xfrm>
            <a:off x="4680200" y="1213575"/>
            <a:ext cx="4032000" cy="378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de-DE" smtClean="0"/>
            </a:lvl1pPr>
          </a:lstStyle>
          <a:p>
            <a:pPr marL="0" lvl="0" indent="0">
              <a:buNone/>
              <a:tabLst/>
            </a:pPr>
            <a:r>
              <a:rPr lang="de-DE"/>
              <a:t>Textmasterformat bearbeiten</a:t>
            </a:r>
          </a:p>
        </p:txBody>
      </p:sp>
      <p:sp>
        <p:nvSpPr>
          <p:cNvPr id="12" name="Textplatzhalter 7"/>
          <p:cNvSpPr>
            <a:spLocks noGrp="1"/>
          </p:cNvSpPr>
          <p:nvPr>
            <p:ph type="body" sz="quarter" idx="16"/>
          </p:nvPr>
        </p:nvSpPr>
        <p:spPr>
          <a:xfrm>
            <a:off x="431800" y="4252500"/>
            <a:ext cx="8712200" cy="540000"/>
          </a:xfr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70000" tIns="0" rIns="0" bIns="0" numCol="1" anchor="ctr" anchorCtr="0" compatLnSpc="1">
            <a:prstTxWarp prst="textNoShape">
              <a:avLst/>
            </a:prstTxWarp>
          </a:bodyPr>
          <a:lstStyle>
            <a:lvl1pPr>
              <a:defRPr lang="de-DE" dirty="0" smtClean="0">
                <a:solidFill>
                  <a:schemeClr val="bg1"/>
                </a:solidFill>
              </a:defRPr>
            </a:lvl1pPr>
            <a:lvl2pPr>
              <a:defRPr lang="de-DE" dirty="0" smtClean="0">
                <a:solidFill>
                  <a:schemeClr val="bg1"/>
                </a:solidFill>
              </a:defRPr>
            </a:lvl2pPr>
            <a:lvl3pPr marL="182563" indent="-179388">
              <a:defRPr lang="de-DE" sz="1600" dirty="0" smtClean="0">
                <a:solidFill>
                  <a:schemeClr val="bg1"/>
                </a:solidFill>
                <a:latin typeface="+mn-lt"/>
              </a:defRPr>
            </a:lvl3pPr>
          </a:lstStyle>
          <a:p>
            <a:pPr lvl="0">
              <a:spcBef>
                <a:spcPts val="200"/>
              </a:spcBef>
            </a:pPr>
            <a:r>
              <a:rPr lang="de-DE"/>
              <a:t>Textmasterformat bearbeiten</a:t>
            </a:r>
          </a:p>
          <a:p>
            <a:pPr lvl="1">
              <a:spcBef>
                <a:spcPts val="200"/>
              </a:spcBef>
            </a:pPr>
            <a:r>
              <a:rPr lang="de-DE"/>
              <a:t>Zweite Ebene</a:t>
            </a:r>
          </a:p>
          <a:p>
            <a:pPr lvl="2">
              <a:spcBef>
                <a:spcPts val="200"/>
              </a:spcBef>
            </a:pPr>
            <a:r>
              <a:rPr lang="de-DE"/>
              <a:t>Dritte Ebene</a:t>
            </a:r>
          </a:p>
        </p:txBody>
      </p:sp>
    </p:spTree>
    <p:extLst>
      <p:ext uri="{BB962C8B-B14F-4D97-AF65-F5344CB8AC3E}">
        <p14:creationId xmlns:p14="http://schemas.microsoft.com/office/powerpoint/2010/main" val="23862249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Box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3B887F5F-9041-491A-BFF1-0BBE33E413C8}" type="datetime1">
              <a:rPr lang="en-GB" smtClean="0"/>
              <a:pPr/>
              <a:t>26/01/2018</a:t>
            </a:fld>
            <a:endParaRPr lang="de-DE"/>
          </a:p>
        </p:txBody>
      </p:sp>
      <p:sp>
        <p:nvSpPr>
          <p:cNvPr id="9" name="Inhaltsplatzhalter 8"/>
          <p:cNvSpPr>
            <a:spLocks noGrp="1"/>
          </p:cNvSpPr>
          <p:nvPr>
            <p:ph sz="quarter" idx="13"/>
          </p:nvPr>
        </p:nvSpPr>
        <p:spPr>
          <a:xfrm>
            <a:off x="432000" y="1593000"/>
            <a:ext cx="4032000" cy="3199500"/>
          </a:xfrm>
          <a:ln w="6350">
            <a:solidFill>
              <a:schemeClr val="accent1"/>
            </a:solidFill>
          </a:ln>
        </p:spPr>
        <p:txBody>
          <a:bodyPr lIns="180000" tIns="180000" rIns="180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4680200" y="1593000"/>
            <a:ext cx="4032000" cy="3199500"/>
          </a:xfrm>
          <a:ln w="6350">
            <a:solidFill>
              <a:schemeClr val="accent1"/>
            </a:solidFill>
          </a:ln>
        </p:spPr>
        <p:txBody>
          <a:bodyPr lIns="180000" tIns="180000" rIns="18000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2"/>
          <p:cNvSpPr>
            <a:spLocks noGrp="1"/>
          </p:cNvSpPr>
          <p:nvPr>
            <p:ph type="body" idx="1"/>
          </p:nvPr>
        </p:nvSpPr>
        <p:spPr>
          <a:xfrm>
            <a:off x="432000" y="1213575"/>
            <a:ext cx="4032000" cy="378042"/>
          </a:xfrm>
          <a:solidFill>
            <a:schemeClr val="accent1"/>
          </a:solidFill>
          <a:ln w="6350">
            <a:solidFill>
              <a:schemeClr val="accent1"/>
            </a:solidFill>
          </a:ln>
        </p:spPr>
        <p:txBody>
          <a:bodyPr lIns="180000" rIns="180000" anchor="ctr" anchorCtr="0"/>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0" name="Textplatzhalter 4"/>
          <p:cNvSpPr>
            <a:spLocks noGrp="1"/>
          </p:cNvSpPr>
          <p:nvPr>
            <p:ph type="body" sz="quarter" idx="3"/>
          </p:nvPr>
        </p:nvSpPr>
        <p:spPr>
          <a:xfrm>
            <a:off x="4680200" y="1213575"/>
            <a:ext cx="4032000" cy="378000"/>
          </a:xfrm>
          <a:solidFill>
            <a:schemeClr val="accent1"/>
          </a:solidFill>
          <a:ln w="63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0000" tIns="0" rIns="180000" bIns="0" numCol="1" anchor="ctr" anchorCtr="0" compatLnSpc="1">
            <a:prstTxWarp prst="textNoShape">
              <a:avLst/>
            </a:prstTxWarp>
          </a:bodyPr>
          <a:lstStyle>
            <a:lvl1pPr>
              <a:defRPr lang="de-DE" dirty="0" smtClean="0">
                <a:solidFill>
                  <a:schemeClr val="bg1"/>
                </a:solidFill>
              </a:defRPr>
            </a:lvl1pPr>
          </a:lstStyle>
          <a:p>
            <a:pPr marL="0" lvl="0" indent="0">
              <a:buNone/>
            </a:pPr>
            <a:r>
              <a:rPr lang="de-DE"/>
              <a:t>Textmasterformat bearbeiten</a:t>
            </a:r>
          </a:p>
        </p:txBody>
      </p:sp>
    </p:spTree>
    <p:extLst>
      <p:ext uri="{BB962C8B-B14F-4D97-AF65-F5344CB8AC3E}">
        <p14:creationId xmlns:p14="http://schemas.microsoft.com/office/powerpoint/2010/main" val="10659259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ntainer smal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E68C92EC-FFA2-49CE-93EC-7991FB2DE300}" type="datetime1">
              <a:rPr lang="en-GB" smtClean="0"/>
              <a:pPr/>
              <a:t>26/01/2018</a:t>
            </a:fld>
            <a:endParaRPr lang="de-DE"/>
          </a:p>
        </p:txBody>
      </p:sp>
      <p:sp>
        <p:nvSpPr>
          <p:cNvPr id="9" name="Inhaltsplatzhalter 8"/>
          <p:cNvSpPr>
            <a:spLocks noGrp="1"/>
          </p:cNvSpPr>
          <p:nvPr>
            <p:ph sz="quarter" idx="13"/>
          </p:nvPr>
        </p:nvSpPr>
        <p:spPr>
          <a:xfrm>
            <a:off x="432000" y="1213575"/>
            <a:ext cx="619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6840000" y="1213575"/>
            <a:ext cx="187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4609073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ntainer small, Teas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95500B6B-F5E7-44FD-9158-23FF626E676C}" type="datetime1">
              <a:rPr lang="en-GB" smtClean="0"/>
              <a:pPr/>
              <a:t>26/01/2018</a:t>
            </a:fld>
            <a:endParaRPr lang="de-DE"/>
          </a:p>
        </p:txBody>
      </p:sp>
      <p:sp>
        <p:nvSpPr>
          <p:cNvPr id="9" name="Inhaltsplatzhalter 8"/>
          <p:cNvSpPr>
            <a:spLocks noGrp="1"/>
          </p:cNvSpPr>
          <p:nvPr>
            <p:ph sz="quarter" idx="13"/>
          </p:nvPr>
        </p:nvSpPr>
        <p:spPr>
          <a:xfrm>
            <a:off x="432000" y="1213575"/>
            <a:ext cx="619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Inhaltsplatzhalter 10"/>
          <p:cNvSpPr>
            <a:spLocks noGrp="1"/>
          </p:cNvSpPr>
          <p:nvPr>
            <p:ph sz="quarter" idx="14"/>
          </p:nvPr>
        </p:nvSpPr>
        <p:spPr>
          <a:xfrm>
            <a:off x="6840000" y="1213575"/>
            <a:ext cx="1872000" cy="35775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7"/>
          <p:cNvSpPr>
            <a:spLocks noGrp="1"/>
          </p:cNvSpPr>
          <p:nvPr>
            <p:ph type="body" sz="quarter" idx="16"/>
          </p:nvPr>
        </p:nvSpPr>
        <p:spPr>
          <a:xfrm>
            <a:off x="431800" y="4252500"/>
            <a:ext cx="8712200" cy="540000"/>
          </a:xfrm>
          <a:solidFill>
            <a:schemeClr val="accent1"/>
          </a:solidFill>
        </p:spPr>
        <p:txBody>
          <a:bodyPr lIns="270000" anchor="ctr" anchorCtr="0"/>
          <a:lstStyle>
            <a:lvl1pPr>
              <a:spcBef>
                <a:spcPts val="200"/>
              </a:spcBef>
              <a:defRPr>
                <a:solidFill>
                  <a:schemeClr val="bg1"/>
                </a:solidFill>
              </a:defRPr>
            </a:lvl1pPr>
            <a:lvl2pPr marL="268288" indent="-266700">
              <a:spcBef>
                <a:spcPts val="200"/>
              </a:spcBef>
              <a:buClr>
                <a:schemeClr val="bg1"/>
              </a:buClr>
              <a:buSzPct val="80000"/>
              <a:buFont typeface="Wingdings 2" pitchFamily="18" charset="2"/>
              <a:buChar char=""/>
              <a:defRPr>
                <a:solidFill>
                  <a:schemeClr val="bg1"/>
                </a:solidFill>
              </a:defRPr>
            </a:lvl2pPr>
            <a:lvl3pPr marL="277813" indent="-274638">
              <a:spcBef>
                <a:spcPts val="200"/>
              </a:spcBef>
              <a:buClr>
                <a:schemeClr val="bg1"/>
              </a:buClr>
              <a:buFont typeface="Wingdings 2" pitchFamily="18" charset="2"/>
              <a:buChar cha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549432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_ne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7A0BE77-75F0-4DF4-8DF8-78EF4EC1BF68}"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1403655" y="1563693"/>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pic>
        <p:nvPicPr>
          <p:cNvPr id="1028"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68404" y="432002"/>
            <a:ext cx="6326966" cy="471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5527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Pictures, 2 Container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3A7EED71-0BD4-45C0-B8D7-9D4930220B15}" type="datetime1">
              <a:rPr lang="en-GB" smtClean="0"/>
              <a:pPr/>
              <a:t>26/01/2018</a:t>
            </a:fld>
            <a:endParaRPr lang="de-DE"/>
          </a:p>
        </p:txBody>
      </p:sp>
      <p:sp>
        <p:nvSpPr>
          <p:cNvPr id="11" name="Inhaltsplatzhalter 10"/>
          <p:cNvSpPr>
            <a:spLocks noGrp="1"/>
          </p:cNvSpPr>
          <p:nvPr>
            <p:ph sz="quarter" idx="14"/>
          </p:nvPr>
        </p:nvSpPr>
        <p:spPr>
          <a:xfrm>
            <a:off x="2951922" y="1213575"/>
            <a:ext cx="5760278" cy="1755000"/>
          </a:xfrm>
          <a:noFill/>
        </p:spPr>
        <p:txBody>
          <a:bodyPr lIns="180000" rIns="180000" anchor="ctr" anchorCtr="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Bildplatzhalter 3"/>
          <p:cNvSpPr>
            <a:spLocks noGrp="1"/>
          </p:cNvSpPr>
          <p:nvPr>
            <p:ph type="pic" sz="quarter" idx="15"/>
          </p:nvPr>
        </p:nvSpPr>
        <p:spPr>
          <a:xfrm>
            <a:off x="432000" y="1213575"/>
            <a:ext cx="2520000" cy="1755000"/>
          </a:xfrm>
        </p:spPr>
        <p:txBody>
          <a:bodyPr/>
          <a:lstStyle/>
          <a:p>
            <a:r>
              <a:rPr lang="de-DE"/>
              <a:t>Bild durch Klicken auf Symbol hinzufügen</a:t>
            </a:r>
          </a:p>
        </p:txBody>
      </p:sp>
      <p:sp>
        <p:nvSpPr>
          <p:cNvPr id="10" name="Bildplatzhalter 3"/>
          <p:cNvSpPr>
            <a:spLocks noGrp="1"/>
          </p:cNvSpPr>
          <p:nvPr>
            <p:ph type="pic" sz="quarter" idx="16"/>
          </p:nvPr>
        </p:nvSpPr>
        <p:spPr>
          <a:xfrm>
            <a:off x="432000" y="3037500"/>
            <a:ext cx="2520000" cy="1755000"/>
          </a:xfrm>
        </p:spPr>
        <p:txBody>
          <a:bodyPr/>
          <a:lstStyle/>
          <a:p>
            <a:r>
              <a:rPr lang="de-DE"/>
              <a:t>Bild durch Klicken auf Symbol hinzufügen</a:t>
            </a:r>
          </a:p>
        </p:txBody>
      </p:sp>
      <p:sp>
        <p:nvSpPr>
          <p:cNvPr id="13" name="Inhaltsplatzhalter 10"/>
          <p:cNvSpPr>
            <a:spLocks noGrp="1"/>
          </p:cNvSpPr>
          <p:nvPr>
            <p:ph sz="quarter" idx="18"/>
          </p:nvPr>
        </p:nvSpPr>
        <p:spPr>
          <a:xfrm>
            <a:off x="2951922" y="3037500"/>
            <a:ext cx="5760278" cy="1755000"/>
          </a:xfrm>
          <a:noFill/>
        </p:spPr>
        <p:txBody>
          <a:bodyPr lIns="180000" rIns="180000" anchor="ctr" anchorCtr="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2349918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ictures, 3 Container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0"/>
          </p:nvPr>
        </p:nvSpPr>
        <p:spPr/>
        <p:txBody>
          <a:bodyPr/>
          <a:lstStyle>
            <a:lvl1pPr>
              <a:defRPr/>
            </a:lvl1pPr>
          </a:lstStyle>
          <a:p>
            <a:r>
              <a:rPr lang="de-DE"/>
              <a:t>Page </a:t>
            </a:r>
            <a:fld id="{0F84BAF5-21FB-4E17-A060-01FF6111190D}" type="slidenum">
              <a:rPr lang="de-DE"/>
              <a:pPr/>
              <a:t>‹Nr.›</a:t>
            </a:fld>
            <a:endParaRPr lang="de-DE"/>
          </a:p>
        </p:txBody>
      </p:sp>
      <p:sp>
        <p:nvSpPr>
          <p:cNvPr id="6" name="Fußzeilenplatzhalter 5"/>
          <p:cNvSpPr>
            <a:spLocks noGrp="1"/>
          </p:cNvSpPr>
          <p:nvPr>
            <p:ph type="ftr" sz="quarter" idx="11"/>
          </p:nvPr>
        </p:nvSpPr>
        <p:spPr/>
        <p:txBody>
          <a:bodyPr/>
          <a:lstStyle>
            <a:lvl1pPr>
              <a:defRPr/>
            </a:lvl1pPr>
          </a:lstStyle>
          <a:p>
            <a:r>
              <a:rPr lang="en-US"/>
              <a:t>ASM Assembly Systems</a:t>
            </a:r>
            <a:endParaRPr lang="de-DE"/>
          </a:p>
        </p:txBody>
      </p:sp>
      <p:sp>
        <p:nvSpPr>
          <p:cNvPr id="7" name="Datumsplatzhalter 6"/>
          <p:cNvSpPr>
            <a:spLocks noGrp="1"/>
          </p:cNvSpPr>
          <p:nvPr>
            <p:ph type="dt" sz="half" idx="12"/>
          </p:nvPr>
        </p:nvSpPr>
        <p:spPr/>
        <p:txBody>
          <a:bodyPr/>
          <a:lstStyle>
            <a:lvl1pPr>
              <a:defRPr/>
            </a:lvl1pPr>
          </a:lstStyle>
          <a:p>
            <a:fld id="{DE417E6D-2E05-4011-AEF8-2D33A63C8959}" type="datetime1">
              <a:rPr lang="en-GB" smtClean="0"/>
              <a:pPr/>
              <a:t>26/01/2018</a:t>
            </a:fld>
            <a:endParaRPr lang="de-DE"/>
          </a:p>
        </p:txBody>
      </p:sp>
      <p:sp>
        <p:nvSpPr>
          <p:cNvPr id="11" name="Inhaltsplatzhalter 10"/>
          <p:cNvSpPr>
            <a:spLocks noGrp="1"/>
          </p:cNvSpPr>
          <p:nvPr>
            <p:ph sz="quarter" idx="14"/>
          </p:nvPr>
        </p:nvSpPr>
        <p:spPr>
          <a:xfrm>
            <a:off x="2951922" y="1213575"/>
            <a:ext cx="5760278" cy="1134000"/>
          </a:xfrm>
          <a:noFill/>
        </p:spPr>
        <p:txBody>
          <a:bodyPr lIns="180000" rIns="180000" anchor="ctr" anchorCtr="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Bildplatzhalter 3"/>
          <p:cNvSpPr>
            <a:spLocks noGrp="1"/>
          </p:cNvSpPr>
          <p:nvPr>
            <p:ph type="pic" sz="quarter" idx="15"/>
          </p:nvPr>
        </p:nvSpPr>
        <p:spPr>
          <a:xfrm>
            <a:off x="432000" y="1213575"/>
            <a:ext cx="2520000" cy="1134000"/>
          </a:xfrm>
        </p:spPr>
        <p:txBody>
          <a:bodyPr/>
          <a:lstStyle/>
          <a:p>
            <a:r>
              <a:rPr lang="de-DE"/>
              <a:t>Bild durch Klicken auf Symbol hinzufügen</a:t>
            </a:r>
          </a:p>
        </p:txBody>
      </p:sp>
      <p:sp>
        <p:nvSpPr>
          <p:cNvPr id="10" name="Bildplatzhalter 3"/>
          <p:cNvSpPr>
            <a:spLocks noGrp="1"/>
          </p:cNvSpPr>
          <p:nvPr>
            <p:ph type="pic" sz="quarter" idx="16"/>
          </p:nvPr>
        </p:nvSpPr>
        <p:spPr>
          <a:xfrm>
            <a:off x="432000" y="2436037"/>
            <a:ext cx="2520000" cy="1134000"/>
          </a:xfrm>
        </p:spPr>
        <p:txBody>
          <a:bodyPr/>
          <a:lstStyle/>
          <a:p>
            <a:r>
              <a:rPr lang="de-DE"/>
              <a:t>Bild durch Klicken auf Symbol hinzufügen</a:t>
            </a:r>
          </a:p>
        </p:txBody>
      </p:sp>
      <p:sp>
        <p:nvSpPr>
          <p:cNvPr id="12" name="Bildplatzhalter 3"/>
          <p:cNvSpPr>
            <a:spLocks noGrp="1"/>
          </p:cNvSpPr>
          <p:nvPr>
            <p:ph type="pic" sz="quarter" idx="17"/>
          </p:nvPr>
        </p:nvSpPr>
        <p:spPr>
          <a:xfrm>
            <a:off x="432000" y="3658500"/>
            <a:ext cx="2520000" cy="1134000"/>
          </a:xfrm>
        </p:spPr>
        <p:txBody>
          <a:bodyPr/>
          <a:lstStyle/>
          <a:p>
            <a:r>
              <a:rPr lang="de-DE"/>
              <a:t>Bild durch Klicken auf Symbol hinzufügen</a:t>
            </a:r>
          </a:p>
        </p:txBody>
      </p:sp>
      <p:sp>
        <p:nvSpPr>
          <p:cNvPr id="13" name="Inhaltsplatzhalter 10"/>
          <p:cNvSpPr>
            <a:spLocks noGrp="1"/>
          </p:cNvSpPr>
          <p:nvPr>
            <p:ph sz="quarter" idx="18"/>
          </p:nvPr>
        </p:nvSpPr>
        <p:spPr>
          <a:xfrm>
            <a:off x="2951922" y="2436037"/>
            <a:ext cx="5760278" cy="1134000"/>
          </a:xfrm>
          <a:noFill/>
        </p:spPr>
        <p:txBody>
          <a:bodyPr lIns="180000" rIns="180000" anchor="ctr" anchorCtr="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Inhaltsplatzhalter 10"/>
          <p:cNvSpPr>
            <a:spLocks noGrp="1"/>
          </p:cNvSpPr>
          <p:nvPr>
            <p:ph sz="quarter" idx="19"/>
          </p:nvPr>
        </p:nvSpPr>
        <p:spPr>
          <a:xfrm>
            <a:off x="2951922" y="3658500"/>
            <a:ext cx="5760278" cy="1134000"/>
          </a:xfrm>
          <a:noFill/>
        </p:spPr>
        <p:txBody>
          <a:bodyPr lIns="180000" rIns="180000" anchor="ctr" anchorCtr="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8901032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top 2 Container Teaser">
    <p:spTree>
      <p:nvGrpSpPr>
        <p:cNvPr id="1" name=""/>
        <p:cNvGrpSpPr/>
        <p:nvPr/>
      </p:nvGrpSpPr>
      <p:grpSpPr>
        <a:xfrm>
          <a:off x="0" y="0"/>
          <a:ext cx="0" cy="0"/>
          <a:chOff x="0" y="0"/>
          <a:chExt cx="0" cy="0"/>
        </a:xfrm>
      </p:grpSpPr>
      <p:sp>
        <p:nvSpPr>
          <p:cNvPr id="11" name="Inhaltsplatzhalter 10"/>
          <p:cNvSpPr>
            <a:spLocks noGrp="1"/>
          </p:cNvSpPr>
          <p:nvPr>
            <p:ph sz="quarter" idx="17"/>
          </p:nvPr>
        </p:nvSpPr>
        <p:spPr>
          <a:xfrm>
            <a:off x="432008" y="1213575"/>
            <a:ext cx="8284617" cy="121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p>
            <a:r>
              <a:rPr lang="de-DE"/>
              <a:t>Page </a:t>
            </a:r>
            <a:fld id="{FE751076-F3C9-4E4A-84C6-36C855AF0356}" type="slidenum">
              <a:rPr lang="de-DE" smtClean="0"/>
              <a:pPr/>
              <a:t>‹Nr.›</a:t>
            </a:fld>
            <a:endParaRPr lang="de-DE"/>
          </a:p>
        </p:txBody>
      </p:sp>
      <p:sp>
        <p:nvSpPr>
          <p:cNvPr id="4" name="Fußzeilenplatzhalter 3"/>
          <p:cNvSpPr>
            <a:spLocks noGrp="1"/>
          </p:cNvSpPr>
          <p:nvPr>
            <p:ph type="ftr" sz="quarter" idx="11"/>
          </p:nvPr>
        </p:nvSpPr>
        <p:spPr/>
        <p:txBody>
          <a:bodyPr/>
          <a:lstStyle/>
          <a:p>
            <a:r>
              <a:rPr lang="en-US"/>
              <a:t>ASM Assembly Systems</a:t>
            </a:r>
            <a:endParaRPr lang="de-DE"/>
          </a:p>
        </p:txBody>
      </p:sp>
      <p:sp>
        <p:nvSpPr>
          <p:cNvPr id="5" name="Datumsplatzhalter 4"/>
          <p:cNvSpPr>
            <a:spLocks noGrp="1"/>
          </p:cNvSpPr>
          <p:nvPr>
            <p:ph type="dt" sz="half" idx="12"/>
          </p:nvPr>
        </p:nvSpPr>
        <p:spPr/>
        <p:txBody>
          <a:bodyPr/>
          <a:lstStyle/>
          <a:p>
            <a:fld id="{AE04DFA3-B287-4616-9290-C456AF144EC4}" type="datetime1">
              <a:rPr lang="en-GB" smtClean="0"/>
              <a:pPr/>
              <a:t>26/01/2018</a:t>
            </a:fld>
            <a:endParaRPr lang="de-DE"/>
          </a:p>
        </p:txBody>
      </p:sp>
      <p:sp>
        <p:nvSpPr>
          <p:cNvPr id="8" name="Inhaltsplatzhalter 8"/>
          <p:cNvSpPr>
            <a:spLocks noGrp="1"/>
          </p:cNvSpPr>
          <p:nvPr>
            <p:ph sz="quarter" idx="14"/>
          </p:nvPr>
        </p:nvSpPr>
        <p:spPr>
          <a:xfrm>
            <a:off x="432000" y="2573100"/>
            <a:ext cx="4032000" cy="2219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10"/>
          <p:cNvSpPr>
            <a:spLocks noGrp="1"/>
          </p:cNvSpPr>
          <p:nvPr>
            <p:ph sz="quarter" idx="15"/>
          </p:nvPr>
        </p:nvSpPr>
        <p:spPr>
          <a:xfrm>
            <a:off x="4680200" y="2573100"/>
            <a:ext cx="4032000" cy="2219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Textplatzhalter 7"/>
          <p:cNvSpPr>
            <a:spLocks noGrp="1"/>
          </p:cNvSpPr>
          <p:nvPr>
            <p:ph type="body" sz="quarter" idx="16"/>
          </p:nvPr>
        </p:nvSpPr>
        <p:spPr>
          <a:xfrm>
            <a:off x="431800" y="4252500"/>
            <a:ext cx="8712200" cy="540000"/>
          </a:xfrm>
          <a:solidFill>
            <a:schemeClr val="accent1"/>
          </a:solidFill>
        </p:spPr>
        <p:txBody>
          <a:bodyPr lIns="270000" anchor="ctr" anchorCtr="0"/>
          <a:lstStyle>
            <a:lvl1pPr>
              <a:spcBef>
                <a:spcPts val="200"/>
              </a:spcBef>
              <a:defRPr>
                <a:solidFill>
                  <a:schemeClr val="bg1"/>
                </a:solidFill>
              </a:defRPr>
            </a:lvl1pPr>
            <a:lvl2pPr marL="268288" indent="-266700">
              <a:spcBef>
                <a:spcPts val="200"/>
              </a:spcBef>
              <a:buClr>
                <a:schemeClr val="bg1"/>
              </a:buClr>
              <a:buSzPct val="80000"/>
              <a:buFont typeface="Wingdings 2" pitchFamily="18" charset="2"/>
              <a:buChar char=""/>
              <a:defRPr>
                <a:solidFill>
                  <a:schemeClr val="bg1"/>
                </a:solidFill>
              </a:defRPr>
            </a:lvl2pPr>
            <a:lvl3pPr marL="182563" indent="-179388">
              <a:defRPr lang="de-DE" sz="1600" dirty="0" smtClean="0">
                <a:solidFill>
                  <a:schemeClr val="bg1"/>
                </a:solidFill>
                <a:latin typeface="+mn-lt"/>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p:txBody>
      </p:sp>
    </p:spTree>
    <p:extLst>
      <p:ext uri="{BB962C8B-B14F-4D97-AF65-F5344CB8AC3E}">
        <p14:creationId xmlns:p14="http://schemas.microsoft.com/office/powerpoint/2010/main" val="10107403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ntainer, 3 Container">
    <p:spTree>
      <p:nvGrpSpPr>
        <p:cNvPr id="1" name=""/>
        <p:cNvGrpSpPr/>
        <p:nvPr/>
      </p:nvGrpSpPr>
      <p:grpSpPr>
        <a:xfrm>
          <a:off x="0" y="0"/>
          <a:ext cx="0" cy="0"/>
          <a:chOff x="0" y="0"/>
          <a:chExt cx="0" cy="0"/>
        </a:xfrm>
      </p:grpSpPr>
      <p:sp>
        <p:nvSpPr>
          <p:cNvPr id="11" name="Inhaltsplatzhalter 10"/>
          <p:cNvSpPr>
            <a:spLocks noGrp="1"/>
          </p:cNvSpPr>
          <p:nvPr>
            <p:ph sz="quarter" idx="17"/>
          </p:nvPr>
        </p:nvSpPr>
        <p:spPr>
          <a:xfrm>
            <a:off x="432008" y="1213575"/>
            <a:ext cx="8284617" cy="121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p>
            <a:r>
              <a:rPr lang="de-DE"/>
              <a:t>Page </a:t>
            </a:r>
            <a:fld id="{FE751076-F3C9-4E4A-84C6-36C855AF0356}" type="slidenum">
              <a:rPr lang="de-DE" smtClean="0"/>
              <a:pPr/>
              <a:t>‹Nr.›</a:t>
            </a:fld>
            <a:endParaRPr lang="de-DE"/>
          </a:p>
        </p:txBody>
      </p:sp>
      <p:sp>
        <p:nvSpPr>
          <p:cNvPr id="4" name="Fußzeilenplatzhalter 3"/>
          <p:cNvSpPr>
            <a:spLocks noGrp="1"/>
          </p:cNvSpPr>
          <p:nvPr>
            <p:ph type="ftr" sz="quarter" idx="11"/>
          </p:nvPr>
        </p:nvSpPr>
        <p:spPr/>
        <p:txBody>
          <a:bodyPr/>
          <a:lstStyle/>
          <a:p>
            <a:r>
              <a:rPr lang="en-US"/>
              <a:t>ASM Assembly Systems</a:t>
            </a:r>
            <a:endParaRPr lang="de-DE"/>
          </a:p>
        </p:txBody>
      </p:sp>
      <p:sp>
        <p:nvSpPr>
          <p:cNvPr id="5" name="Datumsplatzhalter 4"/>
          <p:cNvSpPr>
            <a:spLocks noGrp="1"/>
          </p:cNvSpPr>
          <p:nvPr>
            <p:ph type="dt" sz="half" idx="12"/>
          </p:nvPr>
        </p:nvSpPr>
        <p:spPr/>
        <p:txBody>
          <a:bodyPr/>
          <a:lstStyle/>
          <a:p>
            <a:fld id="{173CFFDA-5765-4F67-AEA8-AC1EEF62831B}" type="datetime1">
              <a:rPr lang="en-GB" smtClean="0"/>
              <a:pPr/>
              <a:t>26/01/2018</a:t>
            </a:fld>
            <a:endParaRPr lang="de-DE"/>
          </a:p>
        </p:txBody>
      </p:sp>
      <p:sp>
        <p:nvSpPr>
          <p:cNvPr id="8" name="Inhaltsplatzhalter 8"/>
          <p:cNvSpPr>
            <a:spLocks noGrp="1"/>
          </p:cNvSpPr>
          <p:nvPr>
            <p:ph sz="quarter" idx="14"/>
          </p:nvPr>
        </p:nvSpPr>
        <p:spPr>
          <a:xfrm>
            <a:off x="432000" y="2573100"/>
            <a:ext cx="2700000" cy="2219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10"/>
          <p:cNvSpPr>
            <a:spLocks noGrp="1"/>
          </p:cNvSpPr>
          <p:nvPr>
            <p:ph sz="quarter" idx="15"/>
          </p:nvPr>
        </p:nvSpPr>
        <p:spPr>
          <a:xfrm>
            <a:off x="6016616" y="2573100"/>
            <a:ext cx="2700000" cy="2219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Inhaltsplatzhalter 8"/>
          <p:cNvSpPr>
            <a:spLocks noGrp="1"/>
          </p:cNvSpPr>
          <p:nvPr>
            <p:ph sz="quarter" idx="18"/>
          </p:nvPr>
        </p:nvSpPr>
        <p:spPr>
          <a:xfrm>
            <a:off x="3224308" y="2573100"/>
            <a:ext cx="2700000" cy="2219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107882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ntainer vertica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lvl1pPr>
              <a:defRPr/>
            </a:lvl1pPr>
          </a:lstStyle>
          <a:p>
            <a:r>
              <a:rPr lang="de-DE"/>
              <a:t>Page </a:t>
            </a:r>
            <a:fld id="{FFC3B55D-A626-4B3C-BF37-A39C389441FF}" type="slidenum">
              <a:rPr lang="de-DE"/>
              <a:pPr/>
              <a:t>‹Nr.›</a:t>
            </a:fld>
            <a:endParaRPr lang="de-DE"/>
          </a:p>
        </p:txBody>
      </p:sp>
      <p:sp>
        <p:nvSpPr>
          <p:cNvPr id="4" name="Fußzeilenplatzhalter 3"/>
          <p:cNvSpPr>
            <a:spLocks noGrp="1"/>
          </p:cNvSpPr>
          <p:nvPr>
            <p:ph type="ftr" sz="quarter" idx="11"/>
          </p:nvPr>
        </p:nvSpPr>
        <p:spPr/>
        <p:txBody>
          <a:bodyPr/>
          <a:lstStyle>
            <a:lvl1pPr>
              <a:defRPr/>
            </a:lvl1pPr>
          </a:lstStyle>
          <a:p>
            <a:r>
              <a:rPr lang="en-US"/>
              <a:t>ASM Assembly Systems</a:t>
            </a:r>
            <a:endParaRPr lang="de-DE"/>
          </a:p>
        </p:txBody>
      </p:sp>
      <p:sp>
        <p:nvSpPr>
          <p:cNvPr id="5" name="Datumsplatzhalter 4"/>
          <p:cNvSpPr>
            <a:spLocks noGrp="1"/>
          </p:cNvSpPr>
          <p:nvPr>
            <p:ph type="dt" sz="half" idx="12"/>
          </p:nvPr>
        </p:nvSpPr>
        <p:spPr/>
        <p:txBody>
          <a:bodyPr/>
          <a:lstStyle>
            <a:lvl1pPr>
              <a:defRPr/>
            </a:lvl1pPr>
          </a:lstStyle>
          <a:p>
            <a:fld id="{B3B1DA95-E2EE-450C-870E-0FA12FE1FA70}" type="datetime1">
              <a:rPr lang="en-GB" smtClean="0"/>
              <a:pPr/>
              <a:t>26/01/2018</a:t>
            </a:fld>
            <a:endParaRPr lang="de-DE"/>
          </a:p>
        </p:txBody>
      </p:sp>
      <p:sp>
        <p:nvSpPr>
          <p:cNvPr id="6" name="Inhaltsplatzhalter 8"/>
          <p:cNvSpPr>
            <a:spLocks noGrp="1"/>
          </p:cNvSpPr>
          <p:nvPr>
            <p:ph sz="quarter" idx="13"/>
          </p:nvPr>
        </p:nvSpPr>
        <p:spPr>
          <a:xfrm>
            <a:off x="432000" y="1213575"/>
            <a:ext cx="8283600" cy="175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10"/>
          <p:cNvSpPr>
            <a:spLocks noGrp="1"/>
          </p:cNvSpPr>
          <p:nvPr>
            <p:ph sz="quarter" idx="14"/>
          </p:nvPr>
        </p:nvSpPr>
        <p:spPr>
          <a:xfrm>
            <a:off x="432000" y="3037500"/>
            <a:ext cx="8280000" cy="175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139834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ontainer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lvl1pPr>
              <a:defRPr/>
            </a:lvl1pPr>
          </a:lstStyle>
          <a:p>
            <a:r>
              <a:rPr lang="de-DE"/>
              <a:t>Page </a:t>
            </a:r>
            <a:fld id="{FFC3B55D-A626-4B3C-BF37-A39C389441FF}" type="slidenum">
              <a:rPr lang="de-DE"/>
              <a:pPr/>
              <a:t>‹Nr.›</a:t>
            </a:fld>
            <a:endParaRPr lang="de-DE"/>
          </a:p>
        </p:txBody>
      </p:sp>
      <p:sp>
        <p:nvSpPr>
          <p:cNvPr id="4" name="Fußzeilenplatzhalter 3"/>
          <p:cNvSpPr>
            <a:spLocks noGrp="1"/>
          </p:cNvSpPr>
          <p:nvPr>
            <p:ph type="ftr" sz="quarter" idx="11"/>
          </p:nvPr>
        </p:nvSpPr>
        <p:spPr/>
        <p:txBody>
          <a:bodyPr/>
          <a:lstStyle>
            <a:lvl1pPr>
              <a:defRPr/>
            </a:lvl1pPr>
          </a:lstStyle>
          <a:p>
            <a:r>
              <a:rPr lang="en-US"/>
              <a:t>ASM Assembly Systems</a:t>
            </a:r>
            <a:endParaRPr lang="de-DE"/>
          </a:p>
        </p:txBody>
      </p:sp>
      <p:sp>
        <p:nvSpPr>
          <p:cNvPr id="5" name="Datumsplatzhalter 4"/>
          <p:cNvSpPr>
            <a:spLocks noGrp="1"/>
          </p:cNvSpPr>
          <p:nvPr>
            <p:ph type="dt" sz="half" idx="12"/>
          </p:nvPr>
        </p:nvSpPr>
        <p:spPr/>
        <p:txBody>
          <a:bodyPr/>
          <a:lstStyle>
            <a:lvl1pPr>
              <a:defRPr/>
            </a:lvl1pPr>
          </a:lstStyle>
          <a:p>
            <a:fld id="{E89A4736-8359-466F-A0E4-13DADDF76B81}" type="datetime1">
              <a:rPr lang="en-GB" smtClean="0"/>
              <a:pPr/>
              <a:t>26/01/2018</a:t>
            </a:fld>
            <a:endParaRPr lang="de-DE"/>
          </a:p>
        </p:txBody>
      </p:sp>
      <p:sp>
        <p:nvSpPr>
          <p:cNvPr id="6" name="Inhaltsplatzhalter 8"/>
          <p:cNvSpPr>
            <a:spLocks noGrp="1"/>
          </p:cNvSpPr>
          <p:nvPr>
            <p:ph sz="quarter" idx="13"/>
          </p:nvPr>
        </p:nvSpPr>
        <p:spPr>
          <a:xfrm>
            <a:off x="432000" y="1213575"/>
            <a:ext cx="4032000" cy="175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10"/>
          <p:cNvSpPr>
            <a:spLocks noGrp="1"/>
          </p:cNvSpPr>
          <p:nvPr>
            <p:ph sz="quarter" idx="14"/>
          </p:nvPr>
        </p:nvSpPr>
        <p:spPr>
          <a:xfrm>
            <a:off x="432000" y="3037500"/>
            <a:ext cx="4032000" cy="175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8"/>
          <p:cNvSpPr>
            <a:spLocks noGrp="1"/>
          </p:cNvSpPr>
          <p:nvPr>
            <p:ph sz="quarter" idx="15"/>
          </p:nvPr>
        </p:nvSpPr>
        <p:spPr>
          <a:xfrm>
            <a:off x="4680200" y="1213575"/>
            <a:ext cx="4032000" cy="175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10"/>
          <p:cNvSpPr>
            <a:spLocks noGrp="1"/>
          </p:cNvSpPr>
          <p:nvPr>
            <p:ph sz="quarter" idx="16"/>
          </p:nvPr>
        </p:nvSpPr>
        <p:spPr>
          <a:xfrm>
            <a:off x="4680200" y="3037500"/>
            <a:ext cx="4032000" cy="1755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5671004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r>
              <a:rPr lang="de-DE"/>
              <a:t>Page </a:t>
            </a:r>
            <a:fld id="{A7FE52B1-8B5D-46A6-9CAF-2B445356D59C}" type="slidenum">
              <a:rPr lang="de-DE"/>
              <a:pPr/>
              <a:t>‹Nr.›</a:t>
            </a:fld>
            <a:endParaRPr lang="de-DE"/>
          </a:p>
        </p:txBody>
      </p:sp>
      <p:sp>
        <p:nvSpPr>
          <p:cNvPr id="3" name="Fußzeilenplatzhalter 2"/>
          <p:cNvSpPr>
            <a:spLocks noGrp="1"/>
          </p:cNvSpPr>
          <p:nvPr>
            <p:ph type="ftr" sz="quarter" idx="11"/>
          </p:nvPr>
        </p:nvSpPr>
        <p:spPr/>
        <p:txBody>
          <a:bodyPr/>
          <a:lstStyle>
            <a:lvl1pPr>
              <a:defRPr/>
            </a:lvl1pPr>
          </a:lstStyle>
          <a:p>
            <a:r>
              <a:rPr lang="en-US"/>
              <a:t>ASM Assembly Systems</a:t>
            </a:r>
            <a:endParaRPr lang="de-DE"/>
          </a:p>
        </p:txBody>
      </p:sp>
      <p:sp>
        <p:nvSpPr>
          <p:cNvPr id="4" name="Datumsplatzhalter 3"/>
          <p:cNvSpPr>
            <a:spLocks noGrp="1"/>
          </p:cNvSpPr>
          <p:nvPr>
            <p:ph type="dt" sz="half" idx="12"/>
          </p:nvPr>
        </p:nvSpPr>
        <p:spPr/>
        <p:txBody>
          <a:bodyPr/>
          <a:lstStyle>
            <a:lvl1pPr>
              <a:defRPr/>
            </a:lvl1pPr>
          </a:lstStyle>
          <a:p>
            <a:fld id="{8D628D42-B700-4BE3-869B-8097AE4CEC2F}" type="datetime1">
              <a:rPr lang="en-GB" smtClean="0"/>
              <a:pPr/>
              <a:t>26/01/2018</a:t>
            </a:fld>
            <a:endParaRPr lang="de-DE"/>
          </a:p>
        </p:txBody>
      </p:sp>
    </p:spTree>
    <p:extLst>
      <p:ext uri="{BB962C8B-B14F-4D97-AF65-F5344CB8AC3E}">
        <p14:creationId xmlns:p14="http://schemas.microsoft.com/office/powerpoint/2010/main" val="40659475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de-DE" sz="1600" b="1">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de-DE" sz="1600" b="1">
              <a:solidFill>
                <a:srgbClr val="000000"/>
              </a:solidFill>
              <a:cs typeface="Arial" charset="0"/>
            </a:endParaRPr>
          </a:p>
        </p:txBody>
      </p:sp>
      <p:sp>
        <p:nvSpPr>
          <p:cNvPr id="12" name="Rechteck 11"/>
          <p:cNvSpPr/>
          <p:nvPr userDrawn="1"/>
        </p:nvSpPr>
        <p:spPr bwMode="auto">
          <a:xfrm>
            <a:off x="0" y="3104864"/>
            <a:ext cx="9144000" cy="378000"/>
          </a:xfrm>
          <a:prstGeom prst="rect">
            <a:avLst/>
          </a:prstGeom>
          <a:solidFill>
            <a:schemeClr val="accent1"/>
          </a:solidFill>
          <a:ln>
            <a:noFill/>
          </a:ln>
          <a:effec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932747" y="3147950"/>
            <a:ext cx="1003197" cy="291839"/>
          </a:xfrm>
          <a:prstGeom prst="rect">
            <a:avLst/>
          </a:prstGeom>
        </p:spPr>
      </p:pic>
      <p:sp>
        <p:nvSpPr>
          <p:cNvPr id="10" name="Rectangle 2"/>
          <p:cNvSpPr>
            <a:spLocks noGrp="1" noChangeArrowheads="1"/>
          </p:cNvSpPr>
          <p:nvPr>
            <p:ph type="title" hasCustomPrompt="1"/>
          </p:nvPr>
        </p:nvSpPr>
        <p:spPr bwMode="gray">
          <a:xfrm>
            <a:off x="414005" y="3820725"/>
            <a:ext cx="5757863" cy="377428"/>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ctr" anchorCtr="0" compatLnSpc="1">
            <a:prstTxWarp prst="textNoShape">
              <a:avLst/>
            </a:prstTxWarp>
          </a:bodyPr>
          <a:lstStyle>
            <a:lvl1pPr>
              <a:defRPr sz="3600"/>
            </a:lvl1pPr>
          </a:lstStyle>
          <a:p>
            <a:pPr lvl="0"/>
            <a:r>
              <a:rPr lang="de-DE" dirty="0"/>
              <a:t>THANK YOU</a:t>
            </a:r>
          </a:p>
        </p:txBody>
      </p:sp>
      <p:sp>
        <p:nvSpPr>
          <p:cNvPr id="3" name="Textplatzhalter 2"/>
          <p:cNvSpPr>
            <a:spLocks noGrp="1"/>
          </p:cNvSpPr>
          <p:nvPr>
            <p:ph type="body" sz="quarter" idx="10" hasCustomPrompt="1"/>
          </p:nvPr>
        </p:nvSpPr>
        <p:spPr>
          <a:xfrm>
            <a:off x="1115625" y="4400500"/>
            <a:ext cx="4464075" cy="493508"/>
          </a:xfrm>
        </p:spPr>
        <p:txBody>
          <a:bodyPr/>
          <a:lstStyle>
            <a:lvl1pPr>
              <a:spcBef>
                <a:spcPts val="400"/>
              </a:spcBef>
              <a:tabLst>
                <a:tab pos="1163638" algn="l"/>
              </a:tabLst>
              <a:defRPr sz="1200" b="1">
                <a:solidFill>
                  <a:schemeClr val="tx1"/>
                </a:solidFill>
              </a:defRPr>
            </a:lvl1pPr>
            <a:lvl2pPr>
              <a:spcBef>
                <a:spcPts val="400"/>
              </a:spcBef>
              <a:tabLst>
                <a:tab pos="1163638" algn="l"/>
              </a:tabLst>
              <a:defRPr sz="1200" b="0"/>
            </a:lvl2pPr>
            <a:lvl3pPr>
              <a:spcBef>
                <a:spcPts val="400"/>
              </a:spcBef>
              <a:tabLst>
                <a:tab pos="1163638" algn="l"/>
              </a:tabLst>
              <a:defRPr sz="1200"/>
            </a:lvl3pPr>
            <a:lvl4pPr>
              <a:spcBef>
                <a:spcPts val="400"/>
              </a:spcBef>
              <a:tabLst>
                <a:tab pos="1163638" algn="l"/>
              </a:tabLst>
              <a:defRPr sz="1200"/>
            </a:lvl4pPr>
            <a:lvl5pPr>
              <a:spcBef>
                <a:spcPts val="400"/>
              </a:spcBef>
              <a:tabLst>
                <a:tab pos="1163638" algn="l"/>
              </a:tabLst>
              <a:defRPr sz="1200"/>
            </a:lvl5pPr>
          </a:lstStyle>
          <a:p>
            <a:r>
              <a:rPr lang="de-DE" dirty="0"/>
              <a:t>Name</a:t>
            </a:r>
          </a:p>
          <a:p>
            <a:r>
              <a:rPr lang="de-DE" dirty="0"/>
              <a:t>E-Mail	</a:t>
            </a:r>
          </a:p>
        </p:txBody>
      </p:sp>
      <p:sp>
        <p:nvSpPr>
          <p:cNvPr id="2" name="Textfeld 1"/>
          <p:cNvSpPr txBox="1"/>
          <p:nvPr userDrawn="1"/>
        </p:nvSpPr>
        <p:spPr>
          <a:xfrm>
            <a:off x="432000" y="4400503"/>
            <a:ext cx="971648" cy="49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spcBef>
                <a:spcPts val="400"/>
              </a:spcBef>
              <a:tabLst>
                <a:tab pos="1163638" algn="l"/>
              </a:tabLst>
              <a:defRPr sz="1200">
                <a:latin typeface="+mn-lt"/>
                <a:cs typeface="+mn-cs"/>
              </a:defRPr>
            </a:lvl1pPr>
            <a:lvl2pPr marL="1588" eaLnBrk="1" hangingPunct="1">
              <a:spcBef>
                <a:spcPts val="400"/>
              </a:spcBef>
              <a:tabLst>
                <a:tab pos="1163638" algn="l"/>
              </a:tabLst>
              <a:defRPr sz="1200" b="0">
                <a:latin typeface="+mn-lt"/>
              </a:defRPr>
            </a:lvl2pPr>
            <a:lvl3pPr marL="182563" indent="-179388" eaLnBrk="1" hangingPunct="1">
              <a:spcBef>
                <a:spcPts val="400"/>
              </a:spcBef>
              <a:buClr>
                <a:schemeClr val="tx2"/>
              </a:buClr>
              <a:buSzPct val="80000"/>
              <a:buFont typeface="Wingdings" pitchFamily="2" charset="2"/>
              <a:buChar char="§"/>
              <a:tabLst>
                <a:tab pos="1163638" algn="l"/>
              </a:tabLst>
              <a:defRPr sz="1200">
                <a:latin typeface="+mn-lt"/>
              </a:defRPr>
            </a:lvl3pPr>
            <a:lvl4pPr marL="350838" indent="-166688" eaLnBrk="1" hangingPunct="1">
              <a:spcBef>
                <a:spcPts val="400"/>
              </a:spcBef>
              <a:buClr>
                <a:schemeClr val="tx2"/>
              </a:buClr>
              <a:buSzPct val="80000"/>
              <a:buFont typeface="Wingdings" pitchFamily="2" charset="2"/>
              <a:buChar char="§"/>
              <a:tabLst>
                <a:tab pos="1163638" algn="l"/>
              </a:tabLst>
              <a:defRPr sz="1200">
                <a:latin typeface="+mn-lt"/>
              </a:defRPr>
            </a:lvl4pPr>
            <a:lvl5pPr marL="549275" indent="-196850" eaLnBrk="1" hangingPunct="1">
              <a:spcBef>
                <a:spcPts val="400"/>
              </a:spcBef>
              <a:buClr>
                <a:schemeClr val="tx2"/>
              </a:buClr>
              <a:buSzPct val="80000"/>
              <a:buFont typeface="Wingdings" pitchFamily="2" charset="2"/>
              <a:buChar char="§"/>
              <a:tabLst>
                <a:tab pos="1163638" algn="l"/>
              </a:tabLst>
              <a:defRPr sz="1200">
                <a:latin typeface="+mn-lt"/>
              </a:defRPr>
            </a:lvl5pPr>
            <a:lvl6pPr marL="1006475" indent="-196850" fontAlgn="base">
              <a:spcBef>
                <a:spcPct val="25000"/>
              </a:spcBef>
              <a:spcAft>
                <a:spcPct val="0"/>
              </a:spcAft>
              <a:buClr>
                <a:schemeClr val="tx2"/>
              </a:buClr>
              <a:buSzPct val="80000"/>
              <a:buFont typeface="Wingdings" pitchFamily="2" charset="2"/>
              <a:buChar char="§"/>
              <a:defRPr>
                <a:latin typeface="+mn-lt"/>
              </a:defRPr>
            </a:lvl6pPr>
            <a:lvl7pPr marL="1463675" indent="-196850" fontAlgn="base">
              <a:spcBef>
                <a:spcPct val="25000"/>
              </a:spcBef>
              <a:spcAft>
                <a:spcPct val="0"/>
              </a:spcAft>
              <a:buClr>
                <a:schemeClr val="tx2"/>
              </a:buClr>
              <a:buSzPct val="80000"/>
              <a:buFont typeface="Wingdings" pitchFamily="2" charset="2"/>
              <a:buChar char="§"/>
              <a:defRPr>
                <a:latin typeface="+mn-lt"/>
              </a:defRPr>
            </a:lvl7pPr>
            <a:lvl8pPr marL="1920875" indent="-196850" fontAlgn="base">
              <a:spcBef>
                <a:spcPct val="25000"/>
              </a:spcBef>
              <a:spcAft>
                <a:spcPct val="0"/>
              </a:spcAft>
              <a:buClr>
                <a:schemeClr val="tx2"/>
              </a:buClr>
              <a:buSzPct val="80000"/>
              <a:buFont typeface="Wingdings" pitchFamily="2" charset="2"/>
              <a:buChar char="§"/>
              <a:defRPr>
                <a:latin typeface="+mn-lt"/>
              </a:defRPr>
            </a:lvl8pPr>
            <a:lvl9pPr marL="2378075" indent="-196850" fontAlgn="base">
              <a:spcBef>
                <a:spcPct val="25000"/>
              </a:spcBef>
              <a:spcAft>
                <a:spcPct val="0"/>
              </a:spcAft>
              <a:buClr>
                <a:schemeClr val="tx2"/>
              </a:buClr>
              <a:buSzPct val="80000"/>
              <a:buFont typeface="Wingdings" pitchFamily="2" charset="2"/>
              <a:buChar char="§"/>
              <a:defRPr>
                <a:latin typeface="+mn-lt"/>
              </a:defRPr>
            </a:lvl9pPr>
          </a:lstStyle>
          <a:p>
            <a:pPr fontAlgn="base">
              <a:spcAft>
                <a:spcPct val="0"/>
              </a:spcAft>
            </a:pPr>
            <a:r>
              <a:rPr lang="de-DE" b="1" dirty="0">
                <a:solidFill>
                  <a:srgbClr val="000000"/>
                </a:solidFill>
              </a:rPr>
              <a:t>Name:</a:t>
            </a:r>
          </a:p>
          <a:p>
            <a:pPr fontAlgn="base">
              <a:spcAft>
                <a:spcPct val="0"/>
              </a:spcAft>
            </a:pPr>
            <a:r>
              <a:rPr lang="de-DE" b="1" dirty="0">
                <a:solidFill>
                  <a:srgbClr val="000000"/>
                </a:solidFill>
              </a:rPr>
              <a:t>E-Mail:</a:t>
            </a:r>
          </a:p>
        </p:txBody>
      </p:sp>
      <p:pic>
        <p:nvPicPr>
          <p:cNvPr id="11" name="Picture 3" descr="T:\ASM\_Logo &amp; CD\Logos SIPLACE\20110311_ASM_Siplace_Logos\20110311_ASM_Siplace_Logos\110311_Logo_nnn_weiß\110311_Logo_nnn_weiß.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32000" y="3212030"/>
            <a:ext cx="642466" cy="1647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T:\ASM\13-2057-ASM PPT\Titel.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0" y="-1"/>
            <a:ext cx="9144000" cy="3104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0817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_1">
    <p:bg>
      <p:bgPr>
        <a:solidFill>
          <a:schemeClr val="bg2"/>
        </a:solidFill>
        <a:effectLst/>
      </p:bgPr>
    </p:bg>
    <p:spTree>
      <p:nvGrpSpPr>
        <p:cNvPr id="1" name=""/>
        <p:cNvGrpSpPr/>
        <p:nvPr/>
      </p:nvGrpSpPr>
      <p:grpSpPr>
        <a:xfrm>
          <a:off x="0" y="0"/>
          <a:ext cx="0" cy="0"/>
          <a:chOff x="0" y="0"/>
          <a:chExt cx="0" cy="0"/>
        </a:xfrm>
      </p:grpSpPr>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096340"/>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b"/>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3959278"/>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Rechteck 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2050"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0959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_2">
    <p:bg>
      <p:bgPr>
        <a:solidFill>
          <a:schemeClr val="bg2"/>
        </a:solidFill>
        <a:effectLst/>
      </p:bgPr>
    </p:bg>
    <p:spTree>
      <p:nvGrpSpPr>
        <p:cNvPr id="1" name=""/>
        <p:cNvGrpSpPr/>
        <p:nvPr/>
      </p:nvGrpSpPr>
      <p:grpSpPr>
        <a:xfrm>
          <a:off x="0" y="0"/>
          <a:ext cx="0" cy="0"/>
          <a:chOff x="0" y="0"/>
          <a:chExt cx="0" cy="0"/>
        </a:xfrm>
      </p:grpSpPr>
      <p:pic>
        <p:nvPicPr>
          <p:cNvPr id="3074"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630030"/>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t" anchorCtr="0"/>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4751749"/>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 name="Rechteck 7"/>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9" name="Grafik 8"/>
          <p:cNvPicPr>
            <a:picLocks noChangeAspect="1"/>
          </p:cNvPicPr>
          <p:nvPr userDrawn="1"/>
        </p:nvPicPr>
        <p:blipFill rotWithShape="1">
          <a:blip r:embed="rId5" cstate="print">
            <a:extLst>
              <a:ext uri="{28A0092B-C50C-407E-A947-70E740481C1C}">
                <a14:useLocalDpi xmlns:a14="http://schemas.microsoft.com/office/drawing/2010/main" val="0"/>
              </a:ext>
            </a:extLst>
          </a:blip>
          <a:srcRect b="-1"/>
          <a:stretch/>
        </p:blipFill>
        <p:spPr bwMode="auto">
          <a:xfrm>
            <a:off x="11" y="811037"/>
            <a:ext cx="9143999" cy="264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57965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8196"/>
                                        </p:tgtEl>
                                        <p:attrNameLst>
                                          <p:attrName>style.visibility</p:attrName>
                                        </p:attrNameLst>
                                      </p:cBhvr>
                                      <p:to>
                                        <p:strVal val="visible"/>
                                      </p:to>
                                    </p:set>
                                    <p:anim calcmode="lin" valueType="num">
                                      <p:cBhvr additive="base">
                                        <p:cTn id="7" dur="1000" fill="hold"/>
                                        <p:tgtEl>
                                          <p:spTgt spid="8196"/>
                                        </p:tgtEl>
                                        <p:attrNameLst>
                                          <p:attrName>ppt_x</p:attrName>
                                        </p:attrNameLst>
                                      </p:cBhvr>
                                      <p:tavLst>
                                        <p:tav tm="0">
                                          <p:val>
                                            <p:strVal val="#ppt_x"/>
                                          </p:val>
                                        </p:tav>
                                        <p:tav tm="100000">
                                          <p:val>
                                            <p:strVal val="#ppt_x"/>
                                          </p:val>
                                        </p:tav>
                                      </p:tavLst>
                                    </p:anim>
                                    <p:anim calcmode="lin" valueType="num">
                                      <p:cBhvr additive="base">
                                        <p:cTn id="8" dur="1000" fill="hold"/>
                                        <p:tgtEl>
                                          <p:spTgt spid="819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197">
                                            <p:txEl>
                                              <p:pRg st="0" end="0"/>
                                            </p:txEl>
                                          </p:spTgt>
                                        </p:tgtEl>
                                        <p:attrNameLst>
                                          <p:attrName>style.visibility</p:attrName>
                                        </p:attrNameLst>
                                      </p:cBhvr>
                                      <p:to>
                                        <p:strVal val="visible"/>
                                      </p:to>
                                    </p:set>
                                    <p:anim calcmode="lin" valueType="num">
                                      <p:cBhvr additive="base">
                                        <p:cTn id="11" dur="1000" fill="hold"/>
                                        <p:tgtEl>
                                          <p:spTgt spid="8197">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819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6" grpId="0"/>
      <p:bldP spid="8197" grpId="0" build="p">
        <p:tmplLst>
          <p:tmpl lvl="1">
            <p:tnLst>
              <p:par>
                <p:cTn presetID="2" presetClass="entr" presetSubtype="4" fill="hold" nodeType="withEffect">
                  <p:stCondLst>
                    <p:cond delay="0"/>
                  </p:stCondLst>
                  <p:childTnLst>
                    <p:set>
                      <p:cBhvr>
                        <p:cTn dur="1" fill="hold">
                          <p:stCondLst>
                            <p:cond delay="0"/>
                          </p:stCondLst>
                        </p:cTn>
                        <p:tgtEl>
                          <p:spTgt spid="8197"/>
                        </p:tgtEl>
                        <p:attrNameLst>
                          <p:attrName>style.visibility</p:attrName>
                        </p:attrNameLst>
                      </p:cBhvr>
                      <p:to>
                        <p:strVal val="visible"/>
                      </p:to>
                    </p:set>
                    <p:anim calcmode="lin" valueType="num">
                      <p:cBhvr additive="base">
                        <p:cTn dur="1000" fill="hold"/>
                        <p:tgtEl>
                          <p:spTgt spid="8197"/>
                        </p:tgtEl>
                        <p:attrNameLst>
                          <p:attrName>ppt_x</p:attrName>
                        </p:attrNameLst>
                      </p:cBhvr>
                      <p:tavLst>
                        <p:tav tm="0">
                          <p:val>
                            <p:strVal val="#ppt_x"/>
                          </p:val>
                        </p:tav>
                        <p:tav tm="100000">
                          <p:val>
                            <p:strVal val="#ppt_x"/>
                          </p:val>
                        </p:tav>
                      </p:tavLst>
                    </p:anim>
                    <p:anim calcmode="lin" valueType="num">
                      <p:cBhvr additive="base">
                        <p:cTn dur="1000" fill="hold"/>
                        <p:tgtEl>
                          <p:spTgt spid="8197"/>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_Text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4A29CFF-9C53-41A6-8AF4-9D8818DF1396}"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1563689"/>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2"/>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7253899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098" name="Picture 2" descr="T:\ASM\16-2458-ASM PPT Company\Masterhintergründe\master4zu3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70"/>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7" name="Textplatzhalter 6"/>
          <p:cNvSpPr>
            <a:spLocks noGrp="1"/>
          </p:cNvSpPr>
          <p:nvPr userDrawn="1">
            <p:ph type="body" sz="quarter" idx="13"/>
          </p:nvPr>
        </p:nvSpPr>
        <p:spPr>
          <a:xfrm>
            <a:off x="2470150" y="2336946"/>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19" name="Textplatzhalter 6"/>
          <p:cNvSpPr>
            <a:spLocks noGrp="1"/>
          </p:cNvSpPr>
          <p:nvPr userDrawn="1">
            <p:ph type="body" sz="quarter" idx="14"/>
          </p:nvPr>
        </p:nvSpPr>
        <p:spPr>
          <a:xfrm>
            <a:off x="2470150" y="2696917"/>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0" name="Textplatzhalter 6"/>
          <p:cNvSpPr>
            <a:spLocks noGrp="1"/>
          </p:cNvSpPr>
          <p:nvPr userDrawn="1">
            <p:ph type="body" sz="quarter" idx="15"/>
          </p:nvPr>
        </p:nvSpPr>
        <p:spPr>
          <a:xfrm>
            <a:off x="2470150" y="3056888"/>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1" name="Textplatzhalter 6"/>
          <p:cNvSpPr>
            <a:spLocks noGrp="1"/>
          </p:cNvSpPr>
          <p:nvPr userDrawn="1">
            <p:ph type="body" sz="quarter" idx="16"/>
          </p:nvPr>
        </p:nvSpPr>
        <p:spPr>
          <a:xfrm>
            <a:off x="2470150" y="3416859"/>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2" name="Textplatzhalter 6"/>
          <p:cNvSpPr>
            <a:spLocks noGrp="1"/>
          </p:cNvSpPr>
          <p:nvPr userDrawn="1">
            <p:ph type="body" sz="quarter" idx="17"/>
          </p:nvPr>
        </p:nvSpPr>
        <p:spPr>
          <a:xfrm>
            <a:off x="2470150" y="377683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3" name="Textplatzhalter 6"/>
          <p:cNvSpPr>
            <a:spLocks noGrp="1"/>
          </p:cNvSpPr>
          <p:nvPr userDrawn="1">
            <p:ph type="body" sz="quarter" idx="18"/>
          </p:nvPr>
        </p:nvSpPr>
        <p:spPr>
          <a:xfrm>
            <a:off x="2470150" y="4136801"/>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4" name="Textplatzhalter 6"/>
          <p:cNvSpPr>
            <a:spLocks noGrp="1"/>
          </p:cNvSpPr>
          <p:nvPr userDrawn="1">
            <p:ph type="body" sz="quarter" idx="19"/>
          </p:nvPr>
        </p:nvSpPr>
        <p:spPr>
          <a:xfrm>
            <a:off x="2470150" y="449677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5" name="Textplatzhalter 6"/>
          <p:cNvSpPr>
            <a:spLocks noGrp="1"/>
          </p:cNvSpPr>
          <p:nvPr userDrawn="1">
            <p:ph type="body" sz="quarter" idx="20"/>
          </p:nvPr>
        </p:nvSpPr>
        <p:spPr>
          <a:xfrm>
            <a:off x="2470150" y="1976975"/>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6" name="Textplatzhalter 6"/>
          <p:cNvSpPr>
            <a:spLocks noGrp="1"/>
          </p:cNvSpPr>
          <p:nvPr userDrawn="1">
            <p:ph type="body" sz="quarter" idx="21"/>
          </p:nvPr>
        </p:nvSpPr>
        <p:spPr>
          <a:xfrm>
            <a:off x="2470150" y="1617004"/>
            <a:ext cx="4320000" cy="288000"/>
          </a:xfrm>
          <a:noFill/>
        </p:spPr>
        <p:txBody>
          <a:bodyPr lIns="0" anchor="ctr" anchorCtr="0"/>
          <a:lstStyle>
            <a:lvl1pPr>
              <a:defRPr b="1">
                <a:solidFill>
                  <a:schemeClr val="tx1"/>
                </a:solidFill>
              </a:defRPr>
            </a:lvl1pPr>
          </a:lstStyle>
          <a:p>
            <a:pPr lvl="0"/>
            <a:r>
              <a:rPr lang="en-US" dirty="0" err="1"/>
              <a:t>Textmasterformat</a:t>
            </a:r>
            <a:r>
              <a:rPr lang="en-US" dirty="0"/>
              <a:t> </a:t>
            </a:r>
            <a:r>
              <a:rPr lang="en-US" dirty="0" err="1"/>
              <a:t>bearbeiten</a:t>
            </a:r>
            <a:endParaRPr lang="en-US" dirty="0"/>
          </a:p>
        </p:txBody>
      </p:sp>
      <p:pic>
        <p:nvPicPr>
          <p:cNvPr id="7170" name="Picture 2" descr="T:\ASM\16-2458-ASM PPT Company\number 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771" y="4480016"/>
            <a:ext cx="555940" cy="374091"/>
          </a:xfrm>
          <a:prstGeom prst="rect">
            <a:avLst/>
          </a:prstGeom>
          <a:noFill/>
          <a:extLst>
            <a:ext uri="{909E8E84-426E-40DD-AFC4-6F175D3DCCD1}">
              <a14:hiddenFill xmlns:a14="http://schemas.microsoft.com/office/drawing/2010/main">
                <a:solidFill>
                  <a:srgbClr val="FFFFFF"/>
                </a:solidFill>
              </a14:hiddenFill>
            </a:ext>
          </a:extLst>
        </p:spPr>
      </p:pic>
      <p:sp>
        <p:nvSpPr>
          <p:cNvPr id="29" name="Rechteck 28"/>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30" name="Gruppieren 29"/>
          <p:cNvGrpSpPr/>
          <p:nvPr userDrawn="1"/>
        </p:nvGrpSpPr>
        <p:grpSpPr>
          <a:xfrm>
            <a:off x="0" y="900"/>
            <a:ext cx="9144000" cy="324000"/>
            <a:chOff x="0" y="1200"/>
            <a:chExt cx="9144000" cy="432000"/>
          </a:xfrm>
        </p:grpSpPr>
        <p:sp>
          <p:nvSpPr>
            <p:cNvPr id="31" name="Rechteck 3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32"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Rechteck 26"/>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41195054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 - Teas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029706371"/>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2084" name="think-cell Folie" r:id="rId4" imgW="180" imgH="180" progId="TCLayout.ActiveDocument.1">
                  <p:embed/>
                </p:oleObj>
              </mc:Choice>
              <mc:Fallback>
                <p:oleObj name="think-cell Folie" r:id="rId4" imgW="180" imgH="180"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4" name="Foliennummernplatzhalter 3"/>
          <p:cNvSpPr>
            <a:spLocks noGrp="1"/>
          </p:cNvSpPr>
          <p:nvPr>
            <p:ph type="sldNum" sz="quarter" idx="10"/>
          </p:nvPr>
        </p:nvSpPr>
        <p:spPr>
          <a:xfrm>
            <a:off x="8588479" y="4930870"/>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p:ph idx="1"/>
          </p:nvPr>
        </p:nvSpPr>
        <p:spPr>
          <a:xfrm>
            <a:off x="2470150" y="4608006"/>
            <a:ext cx="6423024"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9" name="Rechteck 8"/>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2460571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a:xfrm>
            <a:off x="8588479" y="4930870"/>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1"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8" name="Rechteck 7"/>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11005847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 - Teaser - without net">
    <p:spTree>
      <p:nvGrpSpPr>
        <p:cNvPr id="1" name=""/>
        <p:cNvGrpSpPr/>
        <p:nvPr/>
      </p:nvGrpSpPr>
      <p:grpSpPr>
        <a:xfrm>
          <a:off x="0" y="0"/>
          <a:ext cx="0" cy="0"/>
          <a:chOff x="0" y="0"/>
          <a:chExt cx="0" cy="0"/>
        </a:xfrm>
      </p:grpSpPr>
      <p:sp>
        <p:nvSpPr>
          <p:cNvPr id="2" name="Rechteck 1"/>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4099"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70"/>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userDrawn="1">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userDrawn="1">
            <p:ph idx="1"/>
          </p:nvPr>
        </p:nvSpPr>
        <p:spPr>
          <a:xfrm>
            <a:off x="2470161" y="4608006"/>
            <a:ext cx="6429637"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19" name="Gruppieren 18"/>
          <p:cNvGrpSpPr/>
          <p:nvPr userDrawn="1"/>
        </p:nvGrpSpPr>
        <p:grpSpPr>
          <a:xfrm>
            <a:off x="0" y="900"/>
            <a:ext cx="9144000" cy="324000"/>
            <a:chOff x="0" y="1200"/>
            <a:chExt cx="9144000" cy="432000"/>
          </a:xfrm>
        </p:grpSpPr>
        <p:sp>
          <p:nvSpPr>
            <p:cNvPr id="20" name="Rechteck 19"/>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1"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Rechteck 17"/>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2947571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 - without net">
    <p:spTree>
      <p:nvGrpSpPr>
        <p:cNvPr id="1" name=""/>
        <p:cNvGrpSpPr/>
        <p:nvPr/>
      </p:nvGrpSpPr>
      <p:grpSpPr>
        <a:xfrm>
          <a:off x="0" y="0"/>
          <a:ext cx="0" cy="0"/>
          <a:chOff x="0" y="0"/>
          <a:chExt cx="0" cy="0"/>
        </a:xfrm>
      </p:grpSpPr>
      <p:grpSp>
        <p:nvGrpSpPr>
          <p:cNvPr id="12" name="Gruppieren 11"/>
          <p:cNvGrpSpPr/>
          <p:nvPr userDrawn="1"/>
        </p:nvGrpSpPr>
        <p:grpSpPr>
          <a:xfrm>
            <a:off x="0" y="0"/>
            <a:ext cx="9144000" cy="5145088"/>
            <a:chOff x="0" y="0"/>
            <a:chExt cx="9144000" cy="5145088"/>
          </a:xfrm>
        </p:grpSpPr>
        <p:sp>
          <p:nvSpPr>
            <p:cNvPr id="13" name="Rechteck 12"/>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16"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Foliennummernplatzhalter 3"/>
          <p:cNvSpPr>
            <a:spLocks noGrp="1"/>
          </p:cNvSpPr>
          <p:nvPr>
            <p:ph type="sldNum" sz="quarter" idx="10"/>
          </p:nvPr>
        </p:nvSpPr>
        <p:spPr>
          <a:xfrm>
            <a:off x="8588479" y="4930870"/>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1"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1" name="Gruppieren 20"/>
          <p:cNvGrpSpPr/>
          <p:nvPr userDrawn="1"/>
        </p:nvGrpSpPr>
        <p:grpSpPr>
          <a:xfrm>
            <a:off x="0" y="900"/>
            <a:ext cx="9144000" cy="324000"/>
            <a:chOff x="0" y="1200"/>
            <a:chExt cx="9144000" cy="432000"/>
          </a:xfrm>
        </p:grpSpPr>
        <p:sp>
          <p:nvSpPr>
            <p:cNvPr id="22" name="Rechteck 2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3"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024204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mpty layout">
    <p:spTree>
      <p:nvGrpSpPr>
        <p:cNvPr id="1" name=""/>
        <p:cNvGrpSpPr/>
        <p:nvPr/>
      </p:nvGrpSpPr>
      <p:grpSpPr>
        <a:xfrm>
          <a:off x="0" y="0"/>
          <a:ext cx="0" cy="0"/>
          <a:chOff x="0" y="0"/>
          <a:chExt cx="0" cy="0"/>
        </a:xfrm>
      </p:grpSpPr>
      <p:sp>
        <p:nvSpPr>
          <p:cNvPr id="15" name="Rechteck 14"/>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6"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12"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4" name="Foliennummernplatzhalter 3"/>
          <p:cNvSpPr>
            <a:spLocks noGrp="1"/>
          </p:cNvSpPr>
          <p:nvPr userDrawn="1">
            <p:ph type="sldNum" sz="quarter" idx="10"/>
          </p:nvPr>
        </p:nvSpPr>
        <p:spPr>
          <a:xfrm>
            <a:off x="8588479" y="4930870"/>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7" name="Rechteck 1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90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0" name="Gruppieren 19"/>
          <p:cNvGrpSpPr/>
          <p:nvPr userDrawn="1"/>
        </p:nvGrpSpPr>
        <p:grpSpPr>
          <a:xfrm>
            <a:off x="0" y="900"/>
            <a:ext cx="9144000" cy="324000"/>
            <a:chOff x="0" y="1200"/>
            <a:chExt cx="9144000" cy="432000"/>
          </a:xfrm>
        </p:grpSpPr>
        <p:sp>
          <p:nvSpPr>
            <p:cNvPr id="21" name="Rechteck 2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2"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Titel 1"/>
          <p:cNvSpPr>
            <a:spLocks noGrp="1"/>
          </p:cNvSpPr>
          <p:nvPr>
            <p:ph type="title"/>
          </p:nvPr>
        </p:nvSpPr>
        <p:spPr>
          <a:xfrm>
            <a:off x="11"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val="35016472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_1">
    <p:bg>
      <p:bgPr>
        <a:solidFill>
          <a:schemeClr val="bg2"/>
        </a:solidFill>
        <a:effectLst/>
      </p:bgPr>
    </p:bg>
    <p:spTree>
      <p:nvGrpSpPr>
        <p:cNvPr id="1" name=""/>
        <p:cNvGrpSpPr/>
        <p:nvPr/>
      </p:nvGrpSpPr>
      <p:grpSpPr>
        <a:xfrm>
          <a:off x="0" y="0"/>
          <a:ext cx="0" cy="0"/>
          <a:chOff x="0" y="0"/>
          <a:chExt cx="0" cy="0"/>
        </a:xfrm>
      </p:grpSpPr>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096339"/>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b"/>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3959278"/>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Rechteck 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2050"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4920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_2">
    <p:bg>
      <p:bgPr>
        <a:solidFill>
          <a:schemeClr val="bg2"/>
        </a:solidFill>
        <a:effectLst/>
      </p:bgPr>
    </p:bg>
    <p:spTree>
      <p:nvGrpSpPr>
        <p:cNvPr id="1" name=""/>
        <p:cNvGrpSpPr/>
        <p:nvPr/>
      </p:nvGrpSpPr>
      <p:grpSpPr>
        <a:xfrm>
          <a:off x="0" y="0"/>
          <a:ext cx="0" cy="0"/>
          <a:chOff x="0" y="0"/>
          <a:chExt cx="0" cy="0"/>
        </a:xfrm>
      </p:grpSpPr>
      <p:pic>
        <p:nvPicPr>
          <p:cNvPr id="3074"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630029"/>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t" anchorCtr="0"/>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4751749"/>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 name="Rechteck 7"/>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9" name="Grafik 8"/>
          <p:cNvPicPr>
            <a:picLocks noChangeAspect="1"/>
          </p:cNvPicPr>
          <p:nvPr userDrawn="1"/>
        </p:nvPicPr>
        <p:blipFill rotWithShape="1">
          <a:blip r:embed="rId5" cstate="print">
            <a:extLst>
              <a:ext uri="{28A0092B-C50C-407E-A947-70E740481C1C}">
                <a14:useLocalDpi xmlns:a14="http://schemas.microsoft.com/office/drawing/2010/main" val="0"/>
              </a:ext>
            </a:extLst>
          </a:blip>
          <a:srcRect b="-1"/>
          <a:stretch/>
        </p:blipFill>
        <p:spPr bwMode="auto">
          <a:xfrm>
            <a:off x="9" y="811037"/>
            <a:ext cx="9143999" cy="264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75872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8196"/>
                                        </p:tgtEl>
                                        <p:attrNameLst>
                                          <p:attrName>style.visibility</p:attrName>
                                        </p:attrNameLst>
                                      </p:cBhvr>
                                      <p:to>
                                        <p:strVal val="visible"/>
                                      </p:to>
                                    </p:set>
                                    <p:anim calcmode="lin" valueType="num">
                                      <p:cBhvr additive="base">
                                        <p:cTn id="7" dur="1000" fill="hold"/>
                                        <p:tgtEl>
                                          <p:spTgt spid="8196"/>
                                        </p:tgtEl>
                                        <p:attrNameLst>
                                          <p:attrName>ppt_x</p:attrName>
                                        </p:attrNameLst>
                                      </p:cBhvr>
                                      <p:tavLst>
                                        <p:tav tm="0">
                                          <p:val>
                                            <p:strVal val="#ppt_x"/>
                                          </p:val>
                                        </p:tav>
                                        <p:tav tm="100000">
                                          <p:val>
                                            <p:strVal val="#ppt_x"/>
                                          </p:val>
                                        </p:tav>
                                      </p:tavLst>
                                    </p:anim>
                                    <p:anim calcmode="lin" valueType="num">
                                      <p:cBhvr additive="base">
                                        <p:cTn id="8" dur="1000" fill="hold"/>
                                        <p:tgtEl>
                                          <p:spTgt spid="819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197">
                                            <p:txEl>
                                              <p:pRg st="0" end="0"/>
                                            </p:txEl>
                                          </p:spTgt>
                                        </p:tgtEl>
                                        <p:attrNameLst>
                                          <p:attrName>style.visibility</p:attrName>
                                        </p:attrNameLst>
                                      </p:cBhvr>
                                      <p:to>
                                        <p:strVal val="visible"/>
                                      </p:to>
                                    </p:set>
                                    <p:anim calcmode="lin" valueType="num">
                                      <p:cBhvr additive="base">
                                        <p:cTn id="11" dur="1000" fill="hold"/>
                                        <p:tgtEl>
                                          <p:spTgt spid="8197">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819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6" grpId="0"/>
      <p:bldP spid="8197" grpId="0" build="p">
        <p:tmplLst>
          <p:tmpl lvl="1">
            <p:tnLst>
              <p:par>
                <p:cTn presetID="2" presetClass="entr" presetSubtype="4" fill="hold" nodeType="withEffect">
                  <p:stCondLst>
                    <p:cond delay="0"/>
                  </p:stCondLst>
                  <p:childTnLst>
                    <p:set>
                      <p:cBhvr>
                        <p:cTn dur="1" fill="hold">
                          <p:stCondLst>
                            <p:cond delay="0"/>
                          </p:stCondLst>
                        </p:cTn>
                        <p:tgtEl>
                          <p:spTgt spid="8197"/>
                        </p:tgtEl>
                        <p:attrNameLst>
                          <p:attrName>style.visibility</p:attrName>
                        </p:attrNameLst>
                      </p:cBhvr>
                      <p:to>
                        <p:strVal val="visible"/>
                      </p:to>
                    </p:set>
                    <p:anim calcmode="lin" valueType="num">
                      <p:cBhvr additive="base">
                        <p:cTn dur="1000" fill="hold"/>
                        <p:tgtEl>
                          <p:spTgt spid="8197"/>
                        </p:tgtEl>
                        <p:attrNameLst>
                          <p:attrName>ppt_x</p:attrName>
                        </p:attrNameLst>
                      </p:cBhvr>
                      <p:tavLst>
                        <p:tav tm="0">
                          <p:val>
                            <p:strVal val="#ppt_x"/>
                          </p:val>
                        </p:tav>
                        <p:tav tm="100000">
                          <p:val>
                            <p:strVal val="#ppt_x"/>
                          </p:val>
                        </p:tav>
                      </p:tavLst>
                    </p:anim>
                    <p:anim calcmode="lin" valueType="num">
                      <p:cBhvr additive="base">
                        <p:cTn dur="1000" fill="hold"/>
                        <p:tgtEl>
                          <p:spTgt spid="8197"/>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098" name="Picture 2" descr="T:\ASM\16-2458-ASM PPT Company\Masterhintergründe\master4zu3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4"/>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7" name="Textplatzhalter 6"/>
          <p:cNvSpPr>
            <a:spLocks noGrp="1"/>
          </p:cNvSpPr>
          <p:nvPr userDrawn="1">
            <p:ph type="body" sz="quarter" idx="13"/>
          </p:nvPr>
        </p:nvSpPr>
        <p:spPr>
          <a:xfrm>
            <a:off x="2470150" y="2336946"/>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19" name="Textplatzhalter 6"/>
          <p:cNvSpPr>
            <a:spLocks noGrp="1"/>
          </p:cNvSpPr>
          <p:nvPr userDrawn="1">
            <p:ph type="body" sz="quarter" idx="14"/>
          </p:nvPr>
        </p:nvSpPr>
        <p:spPr>
          <a:xfrm>
            <a:off x="2470150" y="2696917"/>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0" name="Textplatzhalter 6"/>
          <p:cNvSpPr>
            <a:spLocks noGrp="1"/>
          </p:cNvSpPr>
          <p:nvPr userDrawn="1">
            <p:ph type="body" sz="quarter" idx="15"/>
          </p:nvPr>
        </p:nvSpPr>
        <p:spPr>
          <a:xfrm>
            <a:off x="2470150" y="3056888"/>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1" name="Textplatzhalter 6"/>
          <p:cNvSpPr>
            <a:spLocks noGrp="1"/>
          </p:cNvSpPr>
          <p:nvPr userDrawn="1">
            <p:ph type="body" sz="quarter" idx="16"/>
          </p:nvPr>
        </p:nvSpPr>
        <p:spPr>
          <a:xfrm>
            <a:off x="2470150" y="3416859"/>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2" name="Textplatzhalter 6"/>
          <p:cNvSpPr>
            <a:spLocks noGrp="1"/>
          </p:cNvSpPr>
          <p:nvPr userDrawn="1">
            <p:ph type="body" sz="quarter" idx="17"/>
          </p:nvPr>
        </p:nvSpPr>
        <p:spPr>
          <a:xfrm>
            <a:off x="2470150" y="377683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3" name="Textplatzhalter 6"/>
          <p:cNvSpPr>
            <a:spLocks noGrp="1"/>
          </p:cNvSpPr>
          <p:nvPr userDrawn="1">
            <p:ph type="body" sz="quarter" idx="18"/>
          </p:nvPr>
        </p:nvSpPr>
        <p:spPr>
          <a:xfrm>
            <a:off x="2470150" y="4136801"/>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4" name="Textplatzhalter 6"/>
          <p:cNvSpPr>
            <a:spLocks noGrp="1"/>
          </p:cNvSpPr>
          <p:nvPr userDrawn="1">
            <p:ph type="body" sz="quarter" idx="19"/>
          </p:nvPr>
        </p:nvSpPr>
        <p:spPr>
          <a:xfrm>
            <a:off x="2470150" y="449677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5" name="Textplatzhalter 6"/>
          <p:cNvSpPr>
            <a:spLocks noGrp="1"/>
          </p:cNvSpPr>
          <p:nvPr userDrawn="1">
            <p:ph type="body" sz="quarter" idx="20"/>
          </p:nvPr>
        </p:nvSpPr>
        <p:spPr>
          <a:xfrm>
            <a:off x="2470150" y="1976975"/>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6" name="Textplatzhalter 6"/>
          <p:cNvSpPr>
            <a:spLocks noGrp="1"/>
          </p:cNvSpPr>
          <p:nvPr userDrawn="1">
            <p:ph type="body" sz="quarter" idx="21"/>
          </p:nvPr>
        </p:nvSpPr>
        <p:spPr>
          <a:xfrm>
            <a:off x="2470150" y="1617004"/>
            <a:ext cx="4320000" cy="288000"/>
          </a:xfrm>
          <a:noFill/>
        </p:spPr>
        <p:txBody>
          <a:bodyPr lIns="0" anchor="ctr" anchorCtr="0"/>
          <a:lstStyle>
            <a:lvl1pPr>
              <a:defRPr b="1">
                <a:solidFill>
                  <a:schemeClr val="tx1"/>
                </a:solidFill>
              </a:defRPr>
            </a:lvl1pPr>
          </a:lstStyle>
          <a:p>
            <a:pPr lvl="0"/>
            <a:r>
              <a:rPr lang="en-US" dirty="0" err="1"/>
              <a:t>Textmasterformat</a:t>
            </a:r>
            <a:r>
              <a:rPr lang="en-US" dirty="0"/>
              <a:t> </a:t>
            </a:r>
            <a:r>
              <a:rPr lang="en-US" dirty="0" err="1"/>
              <a:t>bearbeiten</a:t>
            </a:r>
            <a:endParaRPr lang="en-US" dirty="0"/>
          </a:p>
        </p:txBody>
      </p:sp>
      <p:pic>
        <p:nvPicPr>
          <p:cNvPr id="7170" name="Picture 2" descr="T:\ASM\16-2458-ASM PPT Company\number 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771" y="4480016"/>
            <a:ext cx="555940" cy="374091"/>
          </a:xfrm>
          <a:prstGeom prst="rect">
            <a:avLst/>
          </a:prstGeom>
          <a:noFill/>
          <a:extLst>
            <a:ext uri="{909E8E84-426E-40DD-AFC4-6F175D3DCCD1}">
              <a14:hiddenFill xmlns:a14="http://schemas.microsoft.com/office/drawing/2010/main">
                <a:solidFill>
                  <a:srgbClr val="FFFFFF"/>
                </a:solidFill>
              </a14:hiddenFill>
            </a:ext>
          </a:extLst>
        </p:spPr>
      </p:pic>
      <p:sp>
        <p:nvSpPr>
          <p:cNvPr id="29" name="Rechteck 28"/>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30" name="Gruppieren 29"/>
          <p:cNvGrpSpPr/>
          <p:nvPr userDrawn="1"/>
        </p:nvGrpSpPr>
        <p:grpSpPr>
          <a:xfrm>
            <a:off x="0" y="900"/>
            <a:ext cx="9144000" cy="324000"/>
            <a:chOff x="0" y="1200"/>
            <a:chExt cx="9144000" cy="432000"/>
          </a:xfrm>
        </p:grpSpPr>
        <p:sp>
          <p:nvSpPr>
            <p:cNvPr id="31" name="Rechteck 3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32"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Rechteck 26"/>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37470499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 - Teas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893378898"/>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4130" name="think-cell Folie" r:id="rId4" imgW="180" imgH="180" progId="TCLayout.ActiveDocument.1">
                  <p:embed/>
                </p:oleObj>
              </mc:Choice>
              <mc:Fallback>
                <p:oleObj name="think-cell Folie" r:id="rId4" imgW="180" imgH="180"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4" name="Foliennummernplatzhalter 3"/>
          <p:cNvSpPr>
            <a:spLocks noGrp="1"/>
          </p:cNvSpPr>
          <p:nvPr>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p:ph idx="1"/>
          </p:nvPr>
        </p:nvSpPr>
        <p:spPr>
          <a:xfrm>
            <a:off x="2470150" y="4608005"/>
            <a:ext cx="6423024"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9" name="Rechteck 8"/>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30825931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_Text_2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961E84AC-A96A-40D3-BD89-93859AA1A3EC}"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1563689"/>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2"/>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2262714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0"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8" name="Rechteck 7"/>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2929642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 - Teaser - without net">
    <p:spTree>
      <p:nvGrpSpPr>
        <p:cNvPr id="1" name=""/>
        <p:cNvGrpSpPr/>
        <p:nvPr/>
      </p:nvGrpSpPr>
      <p:grpSpPr>
        <a:xfrm>
          <a:off x="0" y="0"/>
          <a:ext cx="0" cy="0"/>
          <a:chOff x="0" y="0"/>
          <a:chExt cx="0" cy="0"/>
        </a:xfrm>
      </p:grpSpPr>
      <p:sp>
        <p:nvSpPr>
          <p:cNvPr id="2" name="Rechteck 1"/>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4099"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userDrawn="1">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userDrawn="1">
            <p:ph idx="1"/>
          </p:nvPr>
        </p:nvSpPr>
        <p:spPr>
          <a:xfrm>
            <a:off x="2470159" y="4608005"/>
            <a:ext cx="6429637"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19" name="Gruppieren 18"/>
          <p:cNvGrpSpPr/>
          <p:nvPr userDrawn="1"/>
        </p:nvGrpSpPr>
        <p:grpSpPr>
          <a:xfrm>
            <a:off x="0" y="900"/>
            <a:ext cx="9144000" cy="324000"/>
            <a:chOff x="0" y="1200"/>
            <a:chExt cx="9144000" cy="432000"/>
          </a:xfrm>
        </p:grpSpPr>
        <p:sp>
          <p:nvSpPr>
            <p:cNvPr id="20" name="Rechteck 19"/>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1"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Rechteck 17"/>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42155351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 - without net">
    <p:spTree>
      <p:nvGrpSpPr>
        <p:cNvPr id="1" name=""/>
        <p:cNvGrpSpPr/>
        <p:nvPr/>
      </p:nvGrpSpPr>
      <p:grpSpPr>
        <a:xfrm>
          <a:off x="0" y="0"/>
          <a:ext cx="0" cy="0"/>
          <a:chOff x="0" y="0"/>
          <a:chExt cx="0" cy="0"/>
        </a:xfrm>
      </p:grpSpPr>
      <p:grpSp>
        <p:nvGrpSpPr>
          <p:cNvPr id="12" name="Gruppieren 11"/>
          <p:cNvGrpSpPr/>
          <p:nvPr userDrawn="1"/>
        </p:nvGrpSpPr>
        <p:grpSpPr>
          <a:xfrm>
            <a:off x="0" y="0"/>
            <a:ext cx="9144000" cy="5145088"/>
            <a:chOff x="0" y="0"/>
            <a:chExt cx="9144000" cy="5145088"/>
          </a:xfrm>
        </p:grpSpPr>
        <p:sp>
          <p:nvSpPr>
            <p:cNvPr id="13" name="Rechteck 12"/>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16"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Foliennummernplatzhalter 3"/>
          <p:cNvSpPr>
            <a:spLocks noGrp="1"/>
          </p:cNvSpPr>
          <p:nvPr>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0"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1" name="Gruppieren 20"/>
          <p:cNvGrpSpPr/>
          <p:nvPr userDrawn="1"/>
        </p:nvGrpSpPr>
        <p:grpSpPr>
          <a:xfrm>
            <a:off x="0" y="900"/>
            <a:ext cx="9144000" cy="324000"/>
            <a:chOff x="0" y="1200"/>
            <a:chExt cx="9144000" cy="432000"/>
          </a:xfrm>
        </p:grpSpPr>
        <p:sp>
          <p:nvSpPr>
            <p:cNvPr id="22" name="Rechteck 2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3"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206695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mpty layout">
    <p:spTree>
      <p:nvGrpSpPr>
        <p:cNvPr id="1" name=""/>
        <p:cNvGrpSpPr/>
        <p:nvPr/>
      </p:nvGrpSpPr>
      <p:grpSpPr>
        <a:xfrm>
          <a:off x="0" y="0"/>
          <a:ext cx="0" cy="0"/>
          <a:chOff x="0" y="0"/>
          <a:chExt cx="0" cy="0"/>
        </a:xfrm>
      </p:grpSpPr>
      <p:sp>
        <p:nvSpPr>
          <p:cNvPr id="15" name="Rechteck 14"/>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6"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1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4" name="Foliennummernplatzhalter 3"/>
          <p:cNvSpPr>
            <a:spLocks noGrp="1"/>
          </p:cNvSpPr>
          <p:nvPr userDrawn="1">
            <p:ph type="sldNum" sz="quarter" idx="10"/>
          </p:nvPr>
        </p:nvSpPr>
        <p:spPr>
          <a:xfrm>
            <a:off x="8588479" y="4930869"/>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7" name="Rechteck 1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90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0" name="Gruppieren 19"/>
          <p:cNvGrpSpPr/>
          <p:nvPr userDrawn="1"/>
        </p:nvGrpSpPr>
        <p:grpSpPr>
          <a:xfrm>
            <a:off x="0" y="900"/>
            <a:ext cx="9144000" cy="324000"/>
            <a:chOff x="0" y="1200"/>
            <a:chExt cx="9144000" cy="432000"/>
          </a:xfrm>
        </p:grpSpPr>
        <p:sp>
          <p:nvSpPr>
            <p:cNvPr id="21" name="Rechteck 2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2"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Titel 1"/>
          <p:cNvSpPr>
            <a:spLocks noGrp="1"/>
          </p:cNvSpPr>
          <p:nvPr>
            <p:ph type="title"/>
          </p:nvPr>
        </p:nvSpPr>
        <p:spPr>
          <a:xfrm>
            <a:off x="10"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val="35178720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_1">
    <p:bg>
      <p:bgPr>
        <a:solidFill>
          <a:schemeClr val="bg2"/>
        </a:solidFill>
        <a:effectLst/>
      </p:bgPr>
    </p:bg>
    <p:spTree>
      <p:nvGrpSpPr>
        <p:cNvPr id="1" name=""/>
        <p:cNvGrpSpPr/>
        <p:nvPr/>
      </p:nvGrpSpPr>
      <p:grpSpPr>
        <a:xfrm>
          <a:off x="0" y="0"/>
          <a:ext cx="0" cy="0"/>
          <a:chOff x="0" y="0"/>
          <a:chExt cx="0" cy="0"/>
        </a:xfrm>
      </p:grpSpPr>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096338"/>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b"/>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3959278"/>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7" name="Rechteck 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2050"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99518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_2">
    <p:bg>
      <p:bgPr>
        <a:solidFill>
          <a:schemeClr val="bg2"/>
        </a:solidFill>
        <a:effectLst/>
      </p:bgPr>
    </p:bg>
    <p:spTree>
      <p:nvGrpSpPr>
        <p:cNvPr id="1" name=""/>
        <p:cNvGrpSpPr/>
        <p:nvPr/>
      </p:nvGrpSpPr>
      <p:grpSpPr>
        <a:xfrm>
          <a:off x="0" y="0"/>
          <a:ext cx="0" cy="0"/>
          <a:chOff x="0" y="0"/>
          <a:chExt cx="0" cy="0"/>
        </a:xfrm>
      </p:grpSpPr>
      <p:pic>
        <p:nvPicPr>
          <p:cNvPr id="3074" name="Picture 2" descr="T:\ASM\16-2458-ASM PPT Company\Masterhintergründe\master4zu3.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1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8194" name="cdtDesignTags Id753827"/>
          <p:cNvSpPr>
            <a:spLocks noChangeShapeType="1"/>
          </p:cNvSpPr>
          <p:nvPr>
            <p:custDataLst>
              <p:tags r:id="rId1"/>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5" name="cdtMasterTags"/>
          <p:cNvSpPr>
            <a:spLocks noChangeShapeType="1"/>
          </p:cNvSpPr>
          <p:nvPr>
            <p:custDataLst>
              <p:tags r:id="rId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8196" name="Rectangle 4"/>
          <p:cNvSpPr>
            <a:spLocks noGrp="1" noChangeArrowheads="1"/>
          </p:cNvSpPr>
          <p:nvPr>
            <p:ph type="ctrTitle"/>
          </p:nvPr>
        </p:nvSpPr>
        <p:spPr>
          <a:xfrm>
            <a:off x="3013075" y="3630028"/>
            <a:ext cx="3816350" cy="767953"/>
          </a:xfrm>
          <a:prstGeom prst="roundRect">
            <a:avLst>
              <a:gd name="adj" fmla="val 0"/>
            </a:avLst>
          </a:prstGeom>
          <a:noFill/>
          <a:extLst>
            <a:ext uri="{909E8E84-426E-40DD-AFC4-6F175D3DCCD1}">
              <a14:hiddenFill xmlns:a14="http://schemas.microsoft.com/office/drawing/2010/main">
                <a:solidFill>
                  <a:schemeClr val="bg2"/>
                </a:solidFill>
              </a14:hiddenFill>
            </a:ext>
          </a:extLst>
        </p:spPr>
        <p:txBody>
          <a:bodyPr lIns="0" tIns="0" rIns="0" anchor="t" anchorCtr="0"/>
          <a:lstStyle>
            <a:lvl1pPr>
              <a:defRPr sz="1800">
                <a:solidFill>
                  <a:schemeClr val="tx2"/>
                </a:solidFill>
              </a:defRPr>
            </a:lvl1p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197" name="Rectangle 5"/>
          <p:cNvSpPr>
            <a:spLocks noGrp="1" noChangeArrowheads="1"/>
          </p:cNvSpPr>
          <p:nvPr>
            <p:ph type="subTitle" idx="1"/>
          </p:nvPr>
        </p:nvSpPr>
        <p:spPr>
          <a:xfrm>
            <a:off x="3013075" y="4751749"/>
            <a:ext cx="3816350" cy="528638"/>
          </a:xfrm>
        </p:spPr>
        <p:txBody>
          <a:bodyPr lIns="0"/>
          <a:lstStyle>
            <a:lvl1pPr>
              <a:lnSpc>
                <a:spcPct val="90000"/>
              </a:lnSpc>
              <a:spcBef>
                <a:spcPct val="0"/>
              </a:spcBef>
              <a:defRPr sz="1200" b="0">
                <a:solidFill>
                  <a:schemeClr val="tx2"/>
                </a:solidFill>
              </a:defRPr>
            </a:lvl1pPr>
          </a:lstStyle>
          <a:p>
            <a:pPr lvl="0"/>
            <a:r>
              <a:rPr lang="en-US" noProof="0" dirty="0" err="1"/>
              <a:t>Formatvorlage</a:t>
            </a:r>
            <a:r>
              <a:rPr lang="en-US" noProof="0" dirty="0"/>
              <a:t> des </a:t>
            </a:r>
            <a:r>
              <a:rPr lang="en-US" noProof="0" dirty="0" err="1"/>
              <a:t>Untertitelmasters</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8" name="Rechteck 7"/>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9" name="Grafik 8"/>
          <p:cNvPicPr>
            <a:picLocks noChangeAspect="1"/>
          </p:cNvPicPr>
          <p:nvPr userDrawn="1"/>
        </p:nvPicPr>
        <p:blipFill rotWithShape="1">
          <a:blip r:embed="rId5" cstate="print">
            <a:extLst>
              <a:ext uri="{28A0092B-C50C-407E-A947-70E740481C1C}">
                <a14:useLocalDpi xmlns:a14="http://schemas.microsoft.com/office/drawing/2010/main" val="0"/>
              </a:ext>
            </a:extLst>
          </a:blip>
          <a:srcRect b="-1"/>
          <a:stretch/>
        </p:blipFill>
        <p:spPr bwMode="auto">
          <a:xfrm>
            <a:off x="7" y="811037"/>
            <a:ext cx="9143999" cy="264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10797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8196"/>
                                        </p:tgtEl>
                                        <p:attrNameLst>
                                          <p:attrName>style.visibility</p:attrName>
                                        </p:attrNameLst>
                                      </p:cBhvr>
                                      <p:to>
                                        <p:strVal val="visible"/>
                                      </p:to>
                                    </p:set>
                                    <p:anim calcmode="lin" valueType="num">
                                      <p:cBhvr additive="base">
                                        <p:cTn id="7" dur="1000" fill="hold"/>
                                        <p:tgtEl>
                                          <p:spTgt spid="8196"/>
                                        </p:tgtEl>
                                        <p:attrNameLst>
                                          <p:attrName>ppt_x</p:attrName>
                                        </p:attrNameLst>
                                      </p:cBhvr>
                                      <p:tavLst>
                                        <p:tav tm="0">
                                          <p:val>
                                            <p:strVal val="#ppt_x"/>
                                          </p:val>
                                        </p:tav>
                                        <p:tav tm="100000">
                                          <p:val>
                                            <p:strVal val="#ppt_x"/>
                                          </p:val>
                                        </p:tav>
                                      </p:tavLst>
                                    </p:anim>
                                    <p:anim calcmode="lin" valueType="num">
                                      <p:cBhvr additive="base">
                                        <p:cTn id="8" dur="1000" fill="hold"/>
                                        <p:tgtEl>
                                          <p:spTgt spid="819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197">
                                            <p:txEl>
                                              <p:pRg st="0" end="0"/>
                                            </p:txEl>
                                          </p:spTgt>
                                        </p:tgtEl>
                                        <p:attrNameLst>
                                          <p:attrName>style.visibility</p:attrName>
                                        </p:attrNameLst>
                                      </p:cBhvr>
                                      <p:to>
                                        <p:strVal val="visible"/>
                                      </p:to>
                                    </p:set>
                                    <p:anim calcmode="lin" valueType="num">
                                      <p:cBhvr additive="base">
                                        <p:cTn id="11" dur="1000" fill="hold"/>
                                        <p:tgtEl>
                                          <p:spTgt spid="8197">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819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6" grpId="0"/>
      <p:bldP spid="8197" grpId="0" build="p">
        <p:tmplLst>
          <p:tmpl lvl="1">
            <p:tnLst>
              <p:par>
                <p:cTn presetID="2" presetClass="entr" presetSubtype="4" fill="hold" nodeType="withEffect">
                  <p:stCondLst>
                    <p:cond delay="0"/>
                  </p:stCondLst>
                  <p:childTnLst>
                    <p:set>
                      <p:cBhvr>
                        <p:cTn dur="1" fill="hold">
                          <p:stCondLst>
                            <p:cond delay="0"/>
                          </p:stCondLst>
                        </p:cTn>
                        <p:tgtEl>
                          <p:spTgt spid="8197"/>
                        </p:tgtEl>
                        <p:attrNameLst>
                          <p:attrName>style.visibility</p:attrName>
                        </p:attrNameLst>
                      </p:cBhvr>
                      <p:to>
                        <p:strVal val="visible"/>
                      </p:to>
                    </p:set>
                    <p:anim calcmode="lin" valueType="num">
                      <p:cBhvr additive="base">
                        <p:cTn dur="1000" fill="hold"/>
                        <p:tgtEl>
                          <p:spTgt spid="8197"/>
                        </p:tgtEl>
                        <p:attrNameLst>
                          <p:attrName>ppt_x</p:attrName>
                        </p:attrNameLst>
                      </p:cBhvr>
                      <p:tavLst>
                        <p:tav tm="0">
                          <p:val>
                            <p:strVal val="#ppt_x"/>
                          </p:val>
                        </p:tav>
                        <p:tav tm="100000">
                          <p:val>
                            <p:strVal val="#ppt_x"/>
                          </p:val>
                        </p:tav>
                      </p:tavLst>
                    </p:anim>
                    <p:anim calcmode="lin" valueType="num">
                      <p:cBhvr additive="base">
                        <p:cTn dur="1000" fill="hold"/>
                        <p:tgtEl>
                          <p:spTgt spid="8197"/>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098" name="Picture 2" descr="T:\ASM\16-2458-ASM PPT Company\Masterhintergründe\master4zu3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3"/>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68"/>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7" name="Textplatzhalter 6"/>
          <p:cNvSpPr>
            <a:spLocks noGrp="1"/>
          </p:cNvSpPr>
          <p:nvPr userDrawn="1">
            <p:ph type="body" sz="quarter" idx="13"/>
          </p:nvPr>
        </p:nvSpPr>
        <p:spPr>
          <a:xfrm>
            <a:off x="2470150" y="2336946"/>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19" name="Textplatzhalter 6"/>
          <p:cNvSpPr>
            <a:spLocks noGrp="1"/>
          </p:cNvSpPr>
          <p:nvPr userDrawn="1">
            <p:ph type="body" sz="quarter" idx="14"/>
          </p:nvPr>
        </p:nvSpPr>
        <p:spPr>
          <a:xfrm>
            <a:off x="2470150" y="2696917"/>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0" name="Textplatzhalter 6"/>
          <p:cNvSpPr>
            <a:spLocks noGrp="1"/>
          </p:cNvSpPr>
          <p:nvPr userDrawn="1">
            <p:ph type="body" sz="quarter" idx="15"/>
          </p:nvPr>
        </p:nvSpPr>
        <p:spPr>
          <a:xfrm>
            <a:off x="2470150" y="3056888"/>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1" name="Textplatzhalter 6"/>
          <p:cNvSpPr>
            <a:spLocks noGrp="1"/>
          </p:cNvSpPr>
          <p:nvPr userDrawn="1">
            <p:ph type="body" sz="quarter" idx="16"/>
          </p:nvPr>
        </p:nvSpPr>
        <p:spPr>
          <a:xfrm>
            <a:off x="2470150" y="3416859"/>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2" name="Textplatzhalter 6"/>
          <p:cNvSpPr>
            <a:spLocks noGrp="1"/>
          </p:cNvSpPr>
          <p:nvPr userDrawn="1">
            <p:ph type="body" sz="quarter" idx="17"/>
          </p:nvPr>
        </p:nvSpPr>
        <p:spPr>
          <a:xfrm>
            <a:off x="2470150" y="377683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3" name="Textplatzhalter 6"/>
          <p:cNvSpPr>
            <a:spLocks noGrp="1"/>
          </p:cNvSpPr>
          <p:nvPr userDrawn="1">
            <p:ph type="body" sz="quarter" idx="18"/>
          </p:nvPr>
        </p:nvSpPr>
        <p:spPr>
          <a:xfrm>
            <a:off x="2470150" y="4136801"/>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4" name="Textplatzhalter 6"/>
          <p:cNvSpPr>
            <a:spLocks noGrp="1"/>
          </p:cNvSpPr>
          <p:nvPr userDrawn="1">
            <p:ph type="body" sz="quarter" idx="19"/>
          </p:nvPr>
        </p:nvSpPr>
        <p:spPr>
          <a:xfrm>
            <a:off x="2470150" y="4496770"/>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5" name="Textplatzhalter 6"/>
          <p:cNvSpPr>
            <a:spLocks noGrp="1"/>
          </p:cNvSpPr>
          <p:nvPr userDrawn="1">
            <p:ph type="body" sz="quarter" idx="20"/>
          </p:nvPr>
        </p:nvSpPr>
        <p:spPr>
          <a:xfrm>
            <a:off x="2470150" y="1976975"/>
            <a:ext cx="4320000" cy="288000"/>
          </a:xfrm>
          <a:solidFill>
            <a:schemeClr val="accent1"/>
          </a:solidFill>
        </p:spPr>
        <p:txBody>
          <a:bodyPr lIns="108000" anchor="ctr" anchorCtr="0"/>
          <a:lstStyle>
            <a:lvl1pPr>
              <a:defRPr b="0">
                <a:solidFill>
                  <a:schemeClr val="bg1"/>
                </a:solidFill>
              </a:defRPr>
            </a:lvl1pPr>
          </a:lstStyle>
          <a:p>
            <a:pPr lvl="0"/>
            <a:r>
              <a:rPr lang="en-US" dirty="0" err="1"/>
              <a:t>Textmasterformat</a:t>
            </a:r>
            <a:r>
              <a:rPr lang="en-US" dirty="0"/>
              <a:t> </a:t>
            </a:r>
            <a:r>
              <a:rPr lang="en-US" dirty="0" err="1"/>
              <a:t>bearbeiten</a:t>
            </a:r>
            <a:endParaRPr lang="en-US" dirty="0"/>
          </a:p>
        </p:txBody>
      </p:sp>
      <p:sp>
        <p:nvSpPr>
          <p:cNvPr id="26" name="Textplatzhalter 6"/>
          <p:cNvSpPr>
            <a:spLocks noGrp="1"/>
          </p:cNvSpPr>
          <p:nvPr userDrawn="1">
            <p:ph type="body" sz="quarter" idx="21"/>
          </p:nvPr>
        </p:nvSpPr>
        <p:spPr>
          <a:xfrm>
            <a:off x="2470150" y="1617004"/>
            <a:ext cx="4320000" cy="288000"/>
          </a:xfrm>
          <a:noFill/>
        </p:spPr>
        <p:txBody>
          <a:bodyPr lIns="0" anchor="ctr" anchorCtr="0"/>
          <a:lstStyle>
            <a:lvl1pPr>
              <a:defRPr b="1">
                <a:solidFill>
                  <a:schemeClr val="tx1"/>
                </a:solidFill>
              </a:defRPr>
            </a:lvl1pPr>
          </a:lstStyle>
          <a:p>
            <a:pPr lvl="0"/>
            <a:r>
              <a:rPr lang="en-US" dirty="0" err="1"/>
              <a:t>Textmasterformat</a:t>
            </a:r>
            <a:r>
              <a:rPr lang="en-US" dirty="0"/>
              <a:t> </a:t>
            </a:r>
            <a:r>
              <a:rPr lang="en-US" dirty="0" err="1"/>
              <a:t>bearbeiten</a:t>
            </a:r>
            <a:endParaRPr lang="en-US" dirty="0"/>
          </a:p>
        </p:txBody>
      </p:sp>
      <p:pic>
        <p:nvPicPr>
          <p:cNvPr id="7170" name="Picture 2" descr="T:\ASM\16-2458-ASM PPT Company\number 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04771" y="4480016"/>
            <a:ext cx="555940" cy="374091"/>
          </a:xfrm>
          <a:prstGeom prst="rect">
            <a:avLst/>
          </a:prstGeom>
          <a:noFill/>
          <a:extLst>
            <a:ext uri="{909E8E84-426E-40DD-AFC4-6F175D3DCCD1}">
              <a14:hiddenFill xmlns:a14="http://schemas.microsoft.com/office/drawing/2010/main">
                <a:solidFill>
                  <a:srgbClr val="FFFFFF"/>
                </a:solidFill>
              </a14:hiddenFill>
            </a:ext>
          </a:extLst>
        </p:spPr>
      </p:pic>
      <p:sp>
        <p:nvSpPr>
          <p:cNvPr id="29" name="Rechteck 28"/>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30" name="Gruppieren 29"/>
          <p:cNvGrpSpPr/>
          <p:nvPr userDrawn="1"/>
        </p:nvGrpSpPr>
        <p:grpSpPr>
          <a:xfrm>
            <a:off x="0" y="900"/>
            <a:ext cx="9144000" cy="324000"/>
            <a:chOff x="0" y="1200"/>
            <a:chExt cx="9144000" cy="432000"/>
          </a:xfrm>
        </p:grpSpPr>
        <p:sp>
          <p:nvSpPr>
            <p:cNvPr id="31" name="Rechteck 3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32" name="Grafik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Rechteck 26"/>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23476018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 - Teas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89171878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268" name="think-cell Folie" r:id="rId4" imgW="180" imgH="180" progId="TCLayout.ActiveDocument.1">
                  <p:embed/>
                </p:oleObj>
              </mc:Choice>
              <mc:Fallback>
                <p:oleObj name="think-cell Folie" r:id="rId4" imgW="180" imgH="180" progId="TCLayout.ActiveDocument.1">
                  <p:embed/>
                  <p:pic>
                    <p:nvPicPr>
                      <p:cNvPr id="0" name=""/>
                      <p:cNvPicPr/>
                      <p:nvPr/>
                    </p:nvPicPr>
                    <p:blipFill>
                      <a:blip r:embed="rId5"/>
                      <a:stretch>
                        <a:fillRect/>
                      </a:stretch>
                    </p:blipFill>
                    <p:spPr>
                      <a:xfrm>
                        <a:off x="1591" y="1192"/>
                        <a:ext cx="1587" cy="1190"/>
                      </a:xfrm>
                      <a:prstGeom prst="rect">
                        <a:avLst/>
                      </a:prstGeom>
                    </p:spPr>
                  </p:pic>
                </p:oleObj>
              </mc:Fallback>
            </mc:AlternateContent>
          </a:graphicData>
        </a:graphic>
      </p:graphicFrame>
      <p:sp>
        <p:nvSpPr>
          <p:cNvPr id="4" name="Foliennummernplatzhalter 3"/>
          <p:cNvSpPr>
            <a:spLocks noGrp="1"/>
          </p:cNvSpPr>
          <p:nvPr>
            <p:ph type="sldNum" sz="quarter" idx="10"/>
          </p:nvPr>
        </p:nvSpPr>
        <p:spPr>
          <a:xfrm>
            <a:off x="8588479" y="4930868"/>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p:ph idx="1"/>
          </p:nvPr>
        </p:nvSpPr>
        <p:spPr>
          <a:xfrm>
            <a:off x="2470150" y="4608004"/>
            <a:ext cx="6423024"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9" name="Rechteck 8"/>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41302240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a:xfrm>
            <a:off x="8588479" y="4930868"/>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8"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8" name="Rechteck 7"/>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14038656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 - Teaser - without net">
    <p:spTree>
      <p:nvGrpSpPr>
        <p:cNvPr id="1" name=""/>
        <p:cNvGrpSpPr/>
        <p:nvPr/>
      </p:nvGrpSpPr>
      <p:grpSpPr>
        <a:xfrm>
          <a:off x="0" y="0"/>
          <a:ext cx="0" cy="0"/>
          <a:chOff x="0" y="0"/>
          <a:chExt cx="0" cy="0"/>
        </a:xfrm>
      </p:grpSpPr>
      <p:sp>
        <p:nvSpPr>
          <p:cNvPr id="2" name="Rechteck 1"/>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4099"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sp>
        <p:nvSpPr>
          <p:cNvPr id="4" name="Foliennummernplatzhalter 3"/>
          <p:cNvSpPr>
            <a:spLocks noGrp="1"/>
          </p:cNvSpPr>
          <p:nvPr userDrawn="1">
            <p:ph type="sldNum" sz="quarter" idx="10"/>
          </p:nvPr>
        </p:nvSpPr>
        <p:spPr>
          <a:xfrm>
            <a:off x="8588479" y="4930868"/>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userDrawn="1">
            <p:ph type="title"/>
          </p:nvPr>
        </p:nvSpPr>
        <p:spPr>
          <a:xfrm>
            <a:off x="1" y="432000"/>
            <a:ext cx="9144000"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6" name="Inhaltsplatzhalter 2"/>
          <p:cNvSpPr>
            <a:spLocks noGrp="1"/>
          </p:cNvSpPr>
          <p:nvPr userDrawn="1">
            <p:ph idx="1"/>
          </p:nvPr>
        </p:nvSpPr>
        <p:spPr>
          <a:xfrm>
            <a:off x="2470157" y="4608004"/>
            <a:ext cx="6429637" cy="260371"/>
          </a:xfrm>
        </p:spPr>
        <p:txBody>
          <a:bodyPr anchor="b"/>
          <a:lstStyle>
            <a:lvl1pPr>
              <a:spcBef>
                <a:spcPts val="899"/>
              </a:spcBef>
              <a:defRPr sz="1000"/>
            </a:lvl1pPr>
            <a:lvl2pPr>
              <a:defRPr sz="1000"/>
            </a:lvl2pPr>
            <a:lvl3pPr>
              <a:defRPr sz="1000"/>
            </a:lvl3pPr>
            <a:lvl4pPr>
              <a:defRPr sz="1000"/>
            </a:lvl4pPr>
            <a:lvl5pPr>
              <a:defRPr sz="1000"/>
            </a:lvl5pPr>
          </a:lstStyle>
          <a:p>
            <a:pPr lvl="0"/>
            <a:r>
              <a:rPr lang="en-US" dirty="0" err="1"/>
              <a:t>Textmasterformat</a:t>
            </a:r>
            <a:r>
              <a:rPr lang="en-US" dirty="0"/>
              <a:t> </a:t>
            </a:r>
            <a:r>
              <a:rPr lang="en-US" dirty="0" err="1"/>
              <a:t>bearbeiten</a:t>
            </a:r>
            <a:endParaRPr lang="en-US" dirty="0"/>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19" name="Gruppieren 18"/>
          <p:cNvGrpSpPr/>
          <p:nvPr userDrawn="1"/>
        </p:nvGrpSpPr>
        <p:grpSpPr>
          <a:xfrm>
            <a:off x="0" y="900"/>
            <a:ext cx="9144000" cy="324000"/>
            <a:chOff x="0" y="1200"/>
            <a:chExt cx="9144000" cy="432000"/>
          </a:xfrm>
        </p:grpSpPr>
        <p:sp>
          <p:nvSpPr>
            <p:cNvPr id="20" name="Rechteck 19"/>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1"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Rechteck 17"/>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26769905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_Text_3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281FF832-9060-47DA-B25E-893FE390D421}" type="datetime1">
              <a:rPr lang="en-US" smtClean="0"/>
              <a:t>1/26/2018</a:t>
            </a:fld>
            <a:endParaRPr lang="en-US" dirty="0"/>
          </a:p>
        </p:txBody>
      </p:sp>
      <p:sp>
        <p:nvSpPr>
          <p:cNvPr id="4" name="Fußzeilenplatzhalter 3"/>
          <p:cNvSpPr>
            <a:spLocks noGrp="1"/>
          </p:cNvSpPr>
          <p:nvPr>
            <p:ph type="ftr" sz="quarter" idx="11"/>
          </p:nvPr>
        </p:nvSpPr>
        <p:spPr/>
        <p:txBody>
          <a:bodyPr/>
          <a:lstStyle/>
          <a:p>
            <a:r>
              <a:rPr lang="de-DE"/>
              <a:t>ASM Assembly Systems</a:t>
            </a:r>
            <a:endParaRPr lang="en-US" dirty="0"/>
          </a:p>
        </p:txBody>
      </p:sp>
      <p:sp>
        <p:nvSpPr>
          <p:cNvPr id="5" name="Foliennummernplatzhalter 4"/>
          <p:cNvSpPr>
            <a:spLocks noGrp="1"/>
          </p:cNvSpPr>
          <p:nvPr>
            <p:ph type="sldNum" sz="quarter" idx="12"/>
          </p:nvPr>
        </p:nvSpPr>
        <p:spPr/>
        <p:txBody>
          <a:bodyPr/>
          <a:lstStyle/>
          <a:p>
            <a:r>
              <a:rPr lang="en-US" dirty="0"/>
              <a:t>Page </a:t>
            </a:r>
            <a:fld id="{9204330F-C5AD-4AC0-88A8-9CB1F8F7EBD6}" type="slidenum">
              <a:rPr lang="en-US" smtClean="0"/>
              <a:pPr/>
              <a:t>‹Nr.›</a:t>
            </a:fld>
            <a:endParaRPr lang="en-US" dirty="0"/>
          </a:p>
        </p:txBody>
      </p:sp>
      <p:sp>
        <p:nvSpPr>
          <p:cNvPr id="7" name="Textplatzhalter 6"/>
          <p:cNvSpPr>
            <a:spLocks noGrp="1"/>
          </p:cNvSpPr>
          <p:nvPr>
            <p:ph type="body" sz="quarter" idx="13"/>
          </p:nvPr>
        </p:nvSpPr>
        <p:spPr>
          <a:xfrm>
            <a:off x="323849" y="1559683"/>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6135575" y="1559683"/>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6"/>
          <p:cNvSpPr>
            <a:spLocks noGrp="1"/>
          </p:cNvSpPr>
          <p:nvPr>
            <p:ph type="body" sz="quarter" idx="15"/>
          </p:nvPr>
        </p:nvSpPr>
        <p:spPr>
          <a:xfrm>
            <a:off x="3229712" y="1559683"/>
            <a:ext cx="2757600" cy="324409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55448317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 - without net">
    <p:spTree>
      <p:nvGrpSpPr>
        <p:cNvPr id="1" name=""/>
        <p:cNvGrpSpPr/>
        <p:nvPr/>
      </p:nvGrpSpPr>
      <p:grpSpPr>
        <a:xfrm>
          <a:off x="0" y="0"/>
          <a:ext cx="0" cy="0"/>
          <a:chOff x="0" y="0"/>
          <a:chExt cx="0" cy="0"/>
        </a:xfrm>
      </p:grpSpPr>
      <p:grpSp>
        <p:nvGrpSpPr>
          <p:cNvPr id="12" name="Gruppieren 11"/>
          <p:cNvGrpSpPr/>
          <p:nvPr userDrawn="1"/>
        </p:nvGrpSpPr>
        <p:grpSpPr>
          <a:xfrm>
            <a:off x="0" y="0"/>
            <a:ext cx="9144000" cy="5145088"/>
            <a:chOff x="0" y="0"/>
            <a:chExt cx="9144000" cy="5145088"/>
          </a:xfrm>
        </p:grpSpPr>
        <p:sp>
          <p:nvSpPr>
            <p:cNvPr id="13" name="Rechteck 12"/>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pic>
          <p:nvPicPr>
            <p:cNvPr id="16" name="Picture 3" descr="T:\ASM\16-2458-ASM PPT Company\Masterhintergründe\Master16.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810"/>
            <a:stretch/>
          </p:blipFill>
          <p:spPr bwMode="auto">
            <a:xfrm>
              <a:off x="0" y="0"/>
              <a:ext cx="7972612" cy="5145088"/>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Foliennummernplatzhalter 3"/>
          <p:cNvSpPr>
            <a:spLocks noGrp="1"/>
          </p:cNvSpPr>
          <p:nvPr>
            <p:ph type="sldNum" sz="quarter" idx="10"/>
          </p:nvPr>
        </p:nvSpPr>
        <p:spPr>
          <a:xfrm>
            <a:off x="8588479" y="4930868"/>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7" name="Titel 1"/>
          <p:cNvSpPr>
            <a:spLocks noGrp="1"/>
          </p:cNvSpPr>
          <p:nvPr>
            <p:ph type="title"/>
          </p:nvPr>
        </p:nvSpPr>
        <p:spPr>
          <a:xfrm>
            <a:off x="8"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5" name="Rechteck 14"/>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1588"/>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1" name="Gruppieren 20"/>
          <p:cNvGrpSpPr/>
          <p:nvPr userDrawn="1"/>
        </p:nvGrpSpPr>
        <p:grpSpPr>
          <a:xfrm>
            <a:off x="0" y="900"/>
            <a:ext cx="9144000" cy="324000"/>
            <a:chOff x="0" y="1200"/>
            <a:chExt cx="9144000" cy="432000"/>
          </a:xfrm>
        </p:grpSpPr>
        <p:sp>
          <p:nvSpPr>
            <p:cNvPr id="22" name="Rechteck 2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3"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8553618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mpty layout">
    <p:spTree>
      <p:nvGrpSpPr>
        <p:cNvPr id="1" name=""/>
        <p:cNvGrpSpPr/>
        <p:nvPr/>
      </p:nvGrpSpPr>
      <p:grpSpPr>
        <a:xfrm>
          <a:off x="0" y="0"/>
          <a:ext cx="0" cy="0"/>
          <a:chOff x="0" y="0"/>
          <a:chExt cx="0" cy="0"/>
        </a:xfrm>
      </p:grpSpPr>
      <p:sp>
        <p:nvSpPr>
          <p:cNvPr id="15" name="Rechteck 14"/>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6"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8"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userDrawn="1"/>
        </p:nvSpPr>
        <p:spPr bwMode="auto">
          <a:xfrm>
            <a:off x="0" y="0"/>
            <a:ext cx="9144000" cy="5143500"/>
          </a:xfrm>
          <a:prstGeom prst="rect">
            <a:avLst/>
          </a:prstGeom>
          <a:solidFill>
            <a:schemeClr val="bg1"/>
          </a:solidFill>
          <a:ln w="12700"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4" name="Foliennummernplatzhalter 3"/>
          <p:cNvSpPr>
            <a:spLocks noGrp="1"/>
          </p:cNvSpPr>
          <p:nvPr userDrawn="1">
            <p:ph type="sldNum" sz="quarter" idx="10"/>
          </p:nvPr>
        </p:nvSpPr>
        <p:spPr>
          <a:xfrm>
            <a:off x="8588479" y="4930868"/>
            <a:ext cx="363882" cy="146817"/>
          </a:xfrm>
        </p:spPr>
        <p:txBody>
          <a:bodyPr/>
          <a:lstStyle>
            <a:lvl1pPr>
              <a:defRPr/>
            </a:lvl1pPr>
          </a:lstStyle>
          <a:p>
            <a:r>
              <a:rPr lang="en-US" dirty="0" err="1">
                <a:solidFill>
                  <a:srgbClr val="97A0A5"/>
                </a:solidFill>
              </a:rPr>
              <a:t>Seite</a:t>
            </a:r>
            <a:r>
              <a:rPr lang="en-US" dirty="0">
                <a:solidFill>
                  <a:srgbClr val="97A0A5"/>
                </a:solidFill>
              </a:rPr>
              <a:t> </a:t>
            </a:r>
            <a:fld id="{C663A403-D06A-4F87-B600-BD0A83EA532E}" type="slidenum">
              <a:rPr lang="en-US" smtClean="0">
                <a:solidFill>
                  <a:srgbClr val="97A0A5"/>
                </a:solidFill>
              </a:rPr>
              <a:pPr/>
              <a:t>‹Nr.›</a:t>
            </a:fld>
            <a:endParaRPr lang="en-US" dirty="0">
              <a:solidFill>
                <a:srgbClr val="97A0A5"/>
              </a:solidFill>
            </a:endParaRPr>
          </a:p>
        </p:txBody>
      </p:sp>
      <p:sp>
        <p:nvSpPr>
          <p:cNvPr id="5" name="Fußzeilenplatzhalter 4"/>
          <p:cNvSpPr>
            <a:spLocks noGrp="1"/>
          </p:cNvSpPr>
          <p:nvPr userDrawn="1">
            <p:ph type="ftr" sz="quarter" idx="11"/>
          </p:nvPr>
        </p:nvSpPr>
        <p:spPr/>
        <p:txBody>
          <a:bodyPr/>
          <a:lstStyle>
            <a:lvl1pPr>
              <a:defRPr/>
            </a:lvl1pPr>
          </a:lstStyle>
          <a:p>
            <a:r>
              <a:rPr lang="en-US" dirty="0">
                <a:solidFill>
                  <a:srgbClr val="97A0A5"/>
                </a:solidFill>
              </a:rPr>
              <a:t>ASM Assembly Systems</a:t>
            </a:r>
          </a:p>
        </p:txBody>
      </p:sp>
      <p:sp>
        <p:nvSpPr>
          <p:cNvPr id="6" name="Datumsplatzhalter 5"/>
          <p:cNvSpPr>
            <a:spLocks noGrp="1"/>
          </p:cNvSpPr>
          <p:nvPr userDrawn="1">
            <p:ph type="dt" sz="half" idx="12"/>
          </p:nvPr>
        </p:nvSpPr>
        <p:spPr/>
        <p:txBody>
          <a:bodyPr/>
          <a:lstStyle>
            <a:lvl1pPr>
              <a:defRPr/>
            </a:lvl1pPr>
          </a:lstStyle>
          <a:p>
            <a:fld id="{200B6025-45FB-4903-8526-4457FF4AC874}" type="datetime1">
              <a:rPr lang="en-US" smtClean="0">
                <a:solidFill>
                  <a:srgbClr val="97A0A5"/>
                </a:solidFill>
              </a:rPr>
              <a:pPr/>
              <a:t>1/26/2018</a:t>
            </a:fld>
            <a:endParaRPr lang="en-US" dirty="0">
              <a:solidFill>
                <a:srgbClr val="97A0A5"/>
              </a:solidFill>
            </a:endParaRPr>
          </a:p>
        </p:txBody>
      </p:sp>
      <p:sp>
        <p:nvSpPr>
          <p:cNvPr id="11" name="Line 8"/>
          <p:cNvSpPr>
            <a:spLocks noChangeShapeType="1"/>
          </p:cNvSpPr>
          <p:nvPr userDrawn="1"/>
        </p:nvSpPr>
        <p:spPr bwMode="gray">
          <a:xfrm>
            <a:off x="2476500" y="4922730"/>
            <a:ext cx="641667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sp>
        <p:nvSpPr>
          <p:cNvPr id="17" name="Rechteck 16"/>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19" name="Rechteck 18"/>
          <p:cNvSpPr/>
          <p:nvPr userDrawn="1"/>
        </p:nvSpPr>
        <p:spPr bwMode="auto">
          <a:xfrm>
            <a:off x="0" y="90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grpSp>
        <p:nvGrpSpPr>
          <p:cNvPr id="20" name="Gruppieren 19"/>
          <p:cNvGrpSpPr/>
          <p:nvPr userDrawn="1"/>
        </p:nvGrpSpPr>
        <p:grpSpPr>
          <a:xfrm>
            <a:off x="0" y="900"/>
            <a:ext cx="9144000" cy="324000"/>
            <a:chOff x="0" y="1200"/>
            <a:chExt cx="9144000" cy="432000"/>
          </a:xfrm>
        </p:grpSpPr>
        <p:sp>
          <p:nvSpPr>
            <p:cNvPr id="21" name="Rechteck 20"/>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22" name="Grafik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Titel 1"/>
          <p:cNvSpPr>
            <a:spLocks noGrp="1"/>
          </p:cNvSpPr>
          <p:nvPr>
            <p:ph type="title"/>
          </p:nvPr>
        </p:nvSpPr>
        <p:spPr>
          <a:xfrm>
            <a:off x="8" y="432000"/>
            <a:ext cx="9143999" cy="936000"/>
          </a:xfrm>
          <a:prstGeom prst="roundRect">
            <a:avLst>
              <a:gd name="adj" fmla="val 0"/>
            </a:avLst>
          </a:prstGeom>
        </p:spPr>
        <p:txBody>
          <a:bodyPr lIns="324000" anchor="ctr" anchorCtr="0"/>
          <a:lstStyle>
            <a:lvl1pPr>
              <a:defRPr lang="de-DE" sz="1800" b="1" dirty="0" smtClean="0">
                <a:solidFill>
                  <a:schemeClr val="tx1"/>
                </a:solidFill>
                <a:latin typeface="+mj-lt"/>
                <a:ea typeface="+mj-ea"/>
                <a:cs typeface="+mj-cs"/>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val="21961502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le_1">
    <p:spTree>
      <p:nvGrpSpPr>
        <p:cNvPr id="1" name=""/>
        <p:cNvGrpSpPr/>
        <p:nvPr/>
      </p:nvGrpSpPr>
      <p:grpSpPr>
        <a:xfrm>
          <a:off x="0" y="0"/>
          <a:ext cx="0" cy="0"/>
          <a:chOff x="0" y="0"/>
          <a:chExt cx="0" cy="0"/>
        </a:xfrm>
      </p:grpSpPr>
      <p:grpSp>
        <p:nvGrpSpPr>
          <p:cNvPr id="5" name="Gruppieren 4"/>
          <p:cNvGrpSpPr/>
          <p:nvPr userDrawn="1"/>
        </p:nvGrpSpPr>
        <p:grpSpPr>
          <a:xfrm>
            <a:off x="0" y="0"/>
            <a:ext cx="9144000" cy="5141913"/>
            <a:chOff x="0" y="0"/>
            <a:chExt cx="9144000" cy="5141913"/>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2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7"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39" y="14845"/>
            <a:ext cx="9142522" cy="352901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628800"/>
            <a:ext cx="3816000" cy="766800"/>
          </a:xfrm>
        </p:spPr>
        <p:txBody>
          <a:bodyPr lIns="0" tIns="0" rIns="0" bIns="46800"/>
          <a:lstStyle>
            <a:lvl1pPr algn="l">
              <a:defRPr b="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680000"/>
            <a:ext cx="3816000" cy="392400"/>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86109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le_2">
    <p:spTree>
      <p:nvGrpSpPr>
        <p:cNvPr id="1" name=""/>
        <p:cNvGrpSpPr/>
        <p:nvPr/>
      </p:nvGrpSpPr>
      <p:grpSpPr>
        <a:xfrm>
          <a:off x="0" y="0"/>
          <a:ext cx="0" cy="0"/>
          <a:chOff x="0" y="0"/>
          <a:chExt cx="0" cy="0"/>
        </a:xfrm>
      </p:grpSpPr>
      <p:grpSp>
        <p:nvGrpSpPr>
          <p:cNvPr id="5" name="Gruppieren 4"/>
          <p:cNvGrpSpPr/>
          <p:nvPr userDrawn="1"/>
        </p:nvGrpSpPr>
        <p:grpSpPr>
          <a:xfrm>
            <a:off x="0" y="0"/>
            <a:ext cx="9144000" cy="5141913"/>
            <a:chOff x="0" y="0"/>
            <a:chExt cx="9144000" cy="5141913"/>
          </a:xfrm>
        </p:grpSpPr>
        <p:sp>
          <p:nvSpPr>
            <p:cNvPr id="4" name="Rechteck 3"/>
            <p:cNvSpPr/>
            <p:nvPr userDrawn="1"/>
          </p:nvSpPr>
          <p:spPr>
            <a:xfrm>
              <a:off x="0" y="0"/>
              <a:ext cx="9144000" cy="5141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26" name="Picture 2" descr="T:\ASM\16-2509-ASM PPT Master_klein\#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213" y="3680623"/>
              <a:ext cx="1350962" cy="1216025"/>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39740" y="235590"/>
              <a:ext cx="1764891" cy="6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7" name="Picture 3" descr="T:\ASM\16-2509-ASM PPT Master_klein\netz.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7726363"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a:xfrm>
            <a:off x="3013200" y="3255826"/>
            <a:ext cx="3816000" cy="766800"/>
          </a:xfrm>
        </p:spPr>
        <p:txBody>
          <a:bodyPr lIns="0" tIns="0" rIns="0" bIns="46800"/>
          <a:lstStyle>
            <a:lvl1pPr algn="l">
              <a:defRPr b="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3013200" y="4307026"/>
            <a:ext cx="3816000" cy="392400"/>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endParaRPr lang="en-US" dirty="0"/>
          </a:p>
        </p:txBody>
      </p:sp>
    </p:spTree>
    <p:extLst>
      <p:ext uri="{BB962C8B-B14F-4D97-AF65-F5344CB8AC3E}">
        <p14:creationId xmlns:p14="http://schemas.microsoft.com/office/powerpoint/2010/main" val="1846340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2" presetClass="entr" presetSubtype="4" fill="hold" nodeType="withEffect">
                  <p:stCondLst>
                    <p:cond delay="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1000" fill="hold"/>
                        <p:tgtEl>
                          <p:spTgt spid="3"/>
                        </p:tgtEl>
                        <p:attrNameLst>
                          <p:attrName>ppt_x</p:attrName>
                        </p:attrNameLst>
                      </p:cBhvr>
                      <p:tavLst>
                        <p:tav tm="0">
                          <p:val>
                            <p:strVal val="#ppt_x"/>
                          </p:val>
                        </p:tav>
                        <p:tav tm="100000">
                          <p:val>
                            <p:strVal val="#ppt_x"/>
                          </p:val>
                        </p:tav>
                      </p:tavLst>
                    </p:anim>
                    <p:anim calcmode="lin" valueType="num">
                      <p:cBhvr additive="base">
                        <p:cTn dur="1000" fill="hold"/>
                        <p:tgtEl>
                          <p:spTgt spid="3"/>
                        </p:tgtEl>
                        <p:attrNameLst>
                          <p:attrName>ppt_y</p:attrName>
                        </p:attrNameLst>
                      </p:cBhvr>
                      <p:tavLst>
                        <p:tav tm="0">
                          <p:val>
                            <p:strVal val="1+#ppt_h/2"/>
                          </p:val>
                        </p:tav>
                        <p:tav tm="100000">
                          <p:val>
                            <p:strVal val="#ppt_y"/>
                          </p:val>
                        </p:tav>
                      </p:tavLst>
                    </p:anim>
                  </p:childTnLst>
                </p:cTn>
              </p:par>
            </p:tnLst>
          </p:tmpl>
        </p:tmplLst>
      </p:bldP>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3" name="Picture 2" descr="T:\ASM\16-2458-ASM PPT Company\number 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04777" y="4480018"/>
            <a:ext cx="443321" cy="399041"/>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2"/>
          <p:cNvSpPr>
            <a:spLocks noGrp="1"/>
          </p:cNvSpPr>
          <p:nvPr userDrawn="1">
            <p:ph type="dt" sz="half" idx="10"/>
          </p:nvPr>
        </p:nvSpPr>
        <p:spPr/>
        <p:txBody>
          <a:bodyPr/>
          <a:lstStyle/>
          <a:p>
            <a:fld id="{B01C74D4-ABD7-4E7B-A5A0-2460BDCBEA9E}"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userDrawn="1">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userDrawn="1">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6" name="Textplatzhalter 6"/>
          <p:cNvSpPr>
            <a:spLocks noGrp="1"/>
          </p:cNvSpPr>
          <p:nvPr userDrawn="1">
            <p:ph type="body" sz="quarter" idx="13"/>
          </p:nvPr>
        </p:nvSpPr>
        <p:spPr>
          <a:xfrm>
            <a:off x="2484438" y="1275606"/>
            <a:ext cx="5040000" cy="360000"/>
          </a:xfrm>
        </p:spPr>
        <p:txBody>
          <a:bodyPr anchor="ctr" anchorCtr="0"/>
          <a:lstStyle>
            <a:lvl1pPr>
              <a:defRPr>
                <a:solidFill>
                  <a:schemeClr val="tx1"/>
                </a:solidFill>
              </a:defRPr>
            </a:lvl1pPr>
          </a:lstStyle>
          <a:p>
            <a:pPr lvl="0"/>
            <a:r>
              <a:rPr lang="de-DE" dirty="0"/>
              <a:t>Textmasterformat bearbeiten</a:t>
            </a:r>
          </a:p>
        </p:txBody>
      </p:sp>
      <p:sp>
        <p:nvSpPr>
          <p:cNvPr id="17" name="Textplatzhalter 6"/>
          <p:cNvSpPr>
            <a:spLocks noGrp="1"/>
          </p:cNvSpPr>
          <p:nvPr userDrawn="1">
            <p:ph type="body" sz="quarter" idx="14"/>
          </p:nvPr>
        </p:nvSpPr>
        <p:spPr>
          <a:xfrm>
            <a:off x="2484438" y="4443998"/>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8" name="Textplatzhalter 6"/>
          <p:cNvSpPr>
            <a:spLocks noGrp="1"/>
          </p:cNvSpPr>
          <p:nvPr userDrawn="1">
            <p:ph type="body" sz="quarter" idx="15"/>
          </p:nvPr>
        </p:nvSpPr>
        <p:spPr>
          <a:xfrm>
            <a:off x="2484438" y="4047949"/>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19" name="Textplatzhalter 6"/>
          <p:cNvSpPr>
            <a:spLocks noGrp="1"/>
          </p:cNvSpPr>
          <p:nvPr userDrawn="1">
            <p:ph type="body" sz="quarter" idx="16"/>
          </p:nvPr>
        </p:nvSpPr>
        <p:spPr>
          <a:xfrm>
            <a:off x="2484438" y="3651900"/>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0" name="Textplatzhalter 6"/>
          <p:cNvSpPr>
            <a:spLocks noGrp="1"/>
          </p:cNvSpPr>
          <p:nvPr userDrawn="1">
            <p:ph type="body" sz="quarter" idx="17"/>
          </p:nvPr>
        </p:nvSpPr>
        <p:spPr>
          <a:xfrm>
            <a:off x="2484438" y="3255851"/>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1" name="Textplatzhalter 6"/>
          <p:cNvSpPr>
            <a:spLocks noGrp="1"/>
          </p:cNvSpPr>
          <p:nvPr userDrawn="1">
            <p:ph type="body" sz="quarter" idx="18"/>
          </p:nvPr>
        </p:nvSpPr>
        <p:spPr>
          <a:xfrm>
            <a:off x="2484438" y="2859802"/>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2" name="Textplatzhalter 6"/>
          <p:cNvSpPr>
            <a:spLocks noGrp="1"/>
          </p:cNvSpPr>
          <p:nvPr userDrawn="1">
            <p:ph type="body" sz="quarter" idx="19"/>
          </p:nvPr>
        </p:nvSpPr>
        <p:spPr>
          <a:xfrm>
            <a:off x="2484438" y="2463753"/>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3" name="Textplatzhalter 6"/>
          <p:cNvSpPr>
            <a:spLocks noGrp="1"/>
          </p:cNvSpPr>
          <p:nvPr userDrawn="1">
            <p:ph type="body" sz="quarter" idx="20"/>
          </p:nvPr>
        </p:nvSpPr>
        <p:spPr>
          <a:xfrm>
            <a:off x="2484438" y="2067704"/>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sp>
        <p:nvSpPr>
          <p:cNvPr id="24" name="Textplatzhalter 6"/>
          <p:cNvSpPr>
            <a:spLocks noGrp="1"/>
          </p:cNvSpPr>
          <p:nvPr userDrawn="1">
            <p:ph type="body" sz="quarter" idx="21"/>
          </p:nvPr>
        </p:nvSpPr>
        <p:spPr>
          <a:xfrm>
            <a:off x="2484438" y="1671655"/>
            <a:ext cx="5040000" cy="360000"/>
          </a:xfrm>
          <a:solidFill>
            <a:schemeClr val="accent1"/>
          </a:solidFill>
        </p:spPr>
        <p:txBody>
          <a:bodyPr lIns="108000" anchor="ctr" anchorCtr="0"/>
          <a:lstStyle>
            <a:lvl1pPr>
              <a:defRPr b="0">
                <a:solidFill>
                  <a:schemeClr val="bg1"/>
                </a:solidFill>
              </a:defRPr>
            </a:lvl1pPr>
          </a:lstStyle>
          <a:p>
            <a:pPr lvl="0"/>
            <a:r>
              <a:rPr lang="de-DE" dirty="0"/>
              <a:t>Textmasterformat bearbeiten</a:t>
            </a:r>
          </a:p>
        </p:txBody>
      </p:sp>
      <p:grpSp>
        <p:nvGrpSpPr>
          <p:cNvPr id="31" name="Gruppieren 30"/>
          <p:cNvGrpSpPr/>
          <p:nvPr userDrawn="1"/>
        </p:nvGrpSpPr>
        <p:grpSpPr>
          <a:xfrm>
            <a:off x="0" y="900"/>
            <a:ext cx="9144000" cy="432000"/>
            <a:chOff x="0" y="900"/>
            <a:chExt cx="9144000" cy="432000"/>
          </a:xfrm>
        </p:grpSpPr>
        <p:sp>
          <p:nvSpPr>
            <p:cNvPr id="33" name="Rechteck 32"/>
            <p:cNvSpPr/>
            <p:nvPr userDrawn="1"/>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34" name="Grafik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 name="Gruppieren 27"/>
          <p:cNvGrpSpPr/>
          <p:nvPr userDrawn="1"/>
        </p:nvGrpSpPr>
        <p:grpSpPr>
          <a:xfrm>
            <a:off x="2470150" y="4922730"/>
            <a:ext cx="6423024" cy="138036"/>
            <a:chOff x="2470150" y="4922730"/>
            <a:chExt cx="6423024" cy="138036"/>
          </a:xfrm>
        </p:grpSpPr>
        <p:sp>
          <p:nvSpPr>
            <p:cNvPr id="29" name="Line 8"/>
            <p:cNvSpPr>
              <a:spLocks noChangeShapeType="1"/>
            </p:cNvSpPr>
            <p:nvPr/>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30" name="Line 8"/>
            <p:cNvSpPr>
              <a:spLocks noChangeShapeType="1"/>
            </p:cNvSpPr>
            <p:nvPr/>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spTree>
    <p:extLst>
      <p:ext uri="{BB962C8B-B14F-4D97-AF65-F5344CB8AC3E}">
        <p14:creationId xmlns:p14="http://schemas.microsoft.com/office/powerpoint/2010/main" val="5474651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ndard_Text_1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58D892C-8876-4D24-AC24-4F99A89A6869}"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8"/>
            <a:ext cx="7489527"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5775553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7A0BE77-75F0-4DF4-8DF8-78EF4EC1BF6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9"/>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24797780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andard_Text_1 Container _Benefit_ne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87A0BE77-75F0-4DF4-8DF8-78EF4EC1BF68}"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1403647" y="1563689"/>
            <a:ext cx="7489527" cy="295274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7"/>
          <p:cNvSpPr>
            <a:spLocks noGrp="1"/>
          </p:cNvSpPr>
          <p:nvPr>
            <p:ph type="body" sz="quarter" idx="14"/>
          </p:nvPr>
        </p:nvSpPr>
        <p:spPr>
          <a:xfrm>
            <a:off x="2469600" y="4516438"/>
            <a:ext cx="6422400" cy="350762"/>
          </a:xfrm>
        </p:spPr>
        <p:txBody>
          <a:bodyPr anchor="b" anchorCtr="0"/>
          <a:lstStyle/>
          <a:p>
            <a:pPr lvl="0"/>
            <a:r>
              <a:rPr lang="de-DE" dirty="0"/>
              <a:t>Textmasterformat bearbeiten</a:t>
            </a:r>
            <a:endParaRPr lang="en-US" dirty="0"/>
          </a:p>
        </p:txBody>
      </p:sp>
      <p:pic>
        <p:nvPicPr>
          <p:cNvPr id="1028"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368404" y="432000"/>
            <a:ext cx="6326966" cy="4711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66343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tandard_Text_2 Contain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64A29CFF-9C53-41A6-8AF4-9D8818DF1396}"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8"/>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0"/>
            <a:ext cx="4212000" cy="32400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491637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tandard_Text_2 Container_Benef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961E84AC-A96A-40D3-BD89-93859AA1A3EC}"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7" name="Textplatzhalter 6"/>
          <p:cNvSpPr>
            <a:spLocks noGrp="1"/>
          </p:cNvSpPr>
          <p:nvPr>
            <p:ph type="body" sz="quarter" idx="13"/>
          </p:nvPr>
        </p:nvSpPr>
        <p:spPr>
          <a:xfrm>
            <a:off x="323849" y="1563689"/>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6"/>
          <p:cNvSpPr>
            <a:spLocks noGrp="1"/>
          </p:cNvSpPr>
          <p:nvPr>
            <p:ph type="body" sz="quarter" idx="14"/>
          </p:nvPr>
        </p:nvSpPr>
        <p:spPr>
          <a:xfrm>
            <a:off x="4681175" y="1562401"/>
            <a:ext cx="4212000" cy="295403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platzhalter 7"/>
          <p:cNvSpPr>
            <a:spLocks noGrp="1"/>
          </p:cNvSpPr>
          <p:nvPr>
            <p:ph type="body" sz="quarter" idx="15"/>
          </p:nvPr>
        </p:nvSpPr>
        <p:spPr>
          <a:xfrm>
            <a:off x="2469600" y="4516438"/>
            <a:ext cx="6422400" cy="350762"/>
          </a:xfrm>
        </p:spPr>
        <p:txBody>
          <a:bodyPr anchor="b" anchorCtr="0"/>
          <a:lstStyle/>
          <a:p>
            <a:pPr lvl="0"/>
            <a:r>
              <a:rPr lang="de-DE" dirty="0"/>
              <a:t>Textmasterformat bearbeiten</a:t>
            </a:r>
            <a:endParaRPr lang="en-US" dirty="0"/>
          </a:p>
        </p:txBody>
      </p:sp>
    </p:spTree>
    <p:extLst>
      <p:ext uri="{BB962C8B-B14F-4D97-AF65-F5344CB8AC3E}">
        <p14:creationId xmlns:p14="http://schemas.microsoft.com/office/powerpoint/2010/main" val="301256364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ags" Target="../tags/tag33.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tags" Target="../tags/tag32.xml"/><Relationship Id="rId17" Type="http://schemas.openxmlformats.org/officeDocument/2006/relationships/image" Target="../media/image2.emf"/><Relationship Id="rId2" Type="http://schemas.openxmlformats.org/officeDocument/2006/relationships/slideLayout" Target="../slideLayouts/slideLayout266.xml"/><Relationship Id="rId16" Type="http://schemas.openxmlformats.org/officeDocument/2006/relationships/image" Target="../media/image21.png"/><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31.xml"/><Relationship Id="rId5" Type="http://schemas.openxmlformats.org/officeDocument/2006/relationships/slideLayout" Target="../slideLayouts/slideLayout269.xml"/><Relationship Id="rId15" Type="http://schemas.openxmlformats.org/officeDocument/2006/relationships/image" Target="../media/image20.emf"/><Relationship Id="rId10" Type="http://schemas.openxmlformats.org/officeDocument/2006/relationships/vmlDrawing" Target="../drawings/vmlDrawing7.vml"/><Relationship Id="rId4" Type="http://schemas.openxmlformats.org/officeDocument/2006/relationships/slideLayout" Target="../slideLayouts/slideLayout268.xml"/><Relationship Id="rId9" Type="http://schemas.openxmlformats.org/officeDocument/2006/relationships/theme" Target="../theme/theme10.xml"/><Relationship Id="rId14" Type="http://schemas.openxmlformats.org/officeDocument/2006/relationships/oleObject" Target="../embeddings/oleObject7.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image" Target="../media/image2.emf"/><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image" Target="../media/image16.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2.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ags" Target="../tags/tag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2.xml"/><Relationship Id="rId27" Type="http://schemas.openxmlformats.org/officeDocument/2006/relationships/image" Target="../media/image1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ags" Target="../tags/tag9.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ags" Target="../tags/tag8.xml"/><Relationship Id="rId17" Type="http://schemas.openxmlformats.org/officeDocument/2006/relationships/image" Target="../media/image2.emf"/><Relationship Id="rId2" Type="http://schemas.openxmlformats.org/officeDocument/2006/relationships/slideLayout" Target="../slideLayouts/slideLayout69.xml"/><Relationship Id="rId16" Type="http://schemas.openxmlformats.org/officeDocument/2006/relationships/image" Target="../media/image21.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ags" Target="../tags/tag7.xml"/><Relationship Id="rId5" Type="http://schemas.openxmlformats.org/officeDocument/2006/relationships/slideLayout" Target="../slideLayouts/slideLayout72.xml"/><Relationship Id="rId15" Type="http://schemas.openxmlformats.org/officeDocument/2006/relationships/image" Target="../media/image20.emf"/><Relationship Id="rId10" Type="http://schemas.openxmlformats.org/officeDocument/2006/relationships/vmlDrawing" Target="../drawings/vmlDrawing1.vml"/><Relationship Id="rId4" Type="http://schemas.openxmlformats.org/officeDocument/2006/relationships/slideLayout" Target="../slideLayouts/slideLayout71.xml"/><Relationship Id="rId9" Type="http://schemas.openxmlformats.org/officeDocument/2006/relationships/theme" Target="../theme/theme3.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ags" Target="../tags/tag17.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ags" Target="../tags/tag16.xml"/><Relationship Id="rId17" Type="http://schemas.openxmlformats.org/officeDocument/2006/relationships/image" Target="../media/image2.emf"/><Relationship Id="rId2" Type="http://schemas.openxmlformats.org/officeDocument/2006/relationships/slideLayout" Target="../slideLayouts/slideLayout77.xml"/><Relationship Id="rId16" Type="http://schemas.openxmlformats.org/officeDocument/2006/relationships/image" Target="../media/image21.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15.xml"/><Relationship Id="rId5" Type="http://schemas.openxmlformats.org/officeDocument/2006/relationships/slideLayout" Target="../slideLayouts/slideLayout80.xml"/><Relationship Id="rId15" Type="http://schemas.openxmlformats.org/officeDocument/2006/relationships/image" Target="../media/image20.emf"/><Relationship Id="rId10" Type="http://schemas.openxmlformats.org/officeDocument/2006/relationships/vmlDrawing" Target="../drawings/vmlDrawing3.vml"/><Relationship Id="rId4" Type="http://schemas.openxmlformats.org/officeDocument/2006/relationships/slideLayout" Target="../slideLayouts/slideLayout79.xml"/><Relationship Id="rId9" Type="http://schemas.openxmlformats.org/officeDocument/2006/relationships/theme" Target="../theme/theme4.xml"/><Relationship Id="rId1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ags" Target="../tags/tag25.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ags" Target="../tags/tag24.xml"/><Relationship Id="rId17" Type="http://schemas.openxmlformats.org/officeDocument/2006/relationships/image" Target="../media/image2.emf"/><Relationship Id="rId2" Type="http://schemas.openxmlformats.org/officeDocument/2006/relationships/slideLayout" Target="../slideLayouts/slideLayout85.xml"/><Relationship Id="rId16" Type="http://schemas.openxmlformats.org/officeDocument/2006/relationships/image" Target="../media/image21.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ags" Target="../tags/tag23.xml"/><Relationship Id="rId5" Type="http://schemas.openxmlformats.org/officeDocument/2006/relationships/slideLayout" Target="../slideLayouts/slideLayout88.xml"/><Relationship Id="rId15" Type="http://schemas.openxmlformats.org/officeDocument/2006/relationships/image" Target="../media/image20.emf"/><Relationship Id="rId10" Type="http://schemas.openxmlformats.org/officeDocument/2006/relationships/vmlDrawing" Target="../drawings/vmlDrawing5.vml"/><Relationship Id="rId4" Type="http://schemas.openxmlformats.org/officeDocument/2006/relationships/slideLayout" Target="../slideLayouts/slideLayout87.xml"/><Relationship Id="rId9" Type="http://schemas.openxmlformats.org/officeDocument/2006/relationships/theme" Target="../theme/theme5.xml"/><Relationship Id="rId1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slideLayout" Target="../slideLayouts/slideLayout130.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50" Type="http://schemas.openxmlformats.org/officeDocument/2006/relationships/image" Target="../media/image2.emf"/><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41" Type="http://schemas.openxmlformats.org/officeDocument/2006/relationships/slideLayout" Target="../slideLayouts/slideLayout132.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image" Target="../media/image1.png"/><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theme" Target="../theme/theme6.xml"/><Relationship Id="rId8" Type="http://schemas.openxmlformats.org/officeDocument/2006/relationships/slideLayout" Target="../slideLayouts/slideLayout9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theme" Target="../theme/theme7.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41" Type="http://schemas.openxmlformats.org/officeDocument/2006/relationships/slideLayout" Target="../slideLayouts/slideLayout179.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image" Target="../media/image2.emf"/><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image" Target="../media/image1.png"/><Relationship Id="rId8"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9" Type="http://schemas.openxmlformats.org/officeDocument/2006/relationships/slideLayout" Target="../slideLayouts/slideLayout223.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image" Target="../media/image26.jpeg"/><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29" Type="http://schemas.openxmlformats.org/officeDocument/2006/relationships/slideLayout" Target="../slideLayouts/slideLayout213.xml"/><Relationship Id="rId41" Type="http://schemas.openxmlformats.org/officeDocument/2006/relationships/theme" Target="../theme/theme8.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4" Type="http://schemas.openxmlformats.org/officeDocument/2006/relationships/image" Target="../media/image2.emf"/><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microsoft.com/office/2007/relationships/hdphoto" Target="../media/hdphoto1.wdp"/></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image" Target="../media/image26.jpeg"/><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41" Type="http://schemas.openxmlformats.org/officeDocument/2006/relationships/theme" Target="../theme/theme9.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4" Type="http://schemas.openxmlformats.org/officeDocument/2006/relationships/image" Target="../media/image2.emf"/><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43"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3" descr="T:\ASM\16-2509-ASM PPT Master_klein\Hintergrund_bearbeitet.png"/>
          <p:cNvPicPr>
            <a:picLocks noChangeAspect="1" noChangeArrowheads="1"/>
          </p:cNvPicPr>
          <p:nvPr/>
        </p:nvPicPr>
        <p:blipFill rotWithShape="1">
          <a:blip r:embed="rId48" cstate="screen">
            <a:duotone>
              <a:schemeClr val="bg2">
                <a:shade val="45000"/>
                <a:satMod val="135000"/>
              </a:schemeClr>
              <a:prstClr val="white"/>
            </a:duotone>
            <a:extLst>
              <a:ext uri="{28A0092B-C50C-407E-A947-70E740481C1C}">
                <a14:useLocalDpi xmlns:a14="http://schemas.microsoft.com/office/drawing/2010/main"/>
              </a:ext>
            </a:extLst>
          </a:blip>
          <a:srcRect r="6109"/>
          <a:stretch/>
        </p:blipFill>
        <p:spPr bwMode="auto">
          <a:xfrm>
            <a:off x="7" y="432004"/>
            <a:ext cx="2332653" cy="4712393"/>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10"/>
          <p:cNvSpPr>
            <a:spLocks noChangeAspect="1"/>
          </p:cNvSpPr>
          <p:nvPr userDrawn="1"/>
        </p:nvSpPr>
        <p:spPr>
          <a:xfrm>
            <a:off x="1367651" y="431999"/>
            <a:ext cx="1014905" cy="4712400"/>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412" h="4710113">
                <a:moveTo>
                  <a:pt x="100012" y="0"/>
                </a:moveTo>
                <a:lnTo>
                  <a:pt x="885825" y="0"/>
                </a:lnTo>
                <a:lnTo>
                  <a:pt x="1014412" y="0"/>
                </a:lnTo>
                <a:lnTo>
                  <a:pt x="1014412" y="4710113"/>
                </a:lnTo>
                <a:lnTo>
                  <a:pt x="0" y="4710113"/>
                </a:lnTo>
                <a:lnTo>
                  <a:pt x="952500" y="2776538"/>
                </a:lnTo>
                <a:lnTo>
                  <a:pt x="100012"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4" name="Datumsplatzhalter 3"/>
          <p:cNvSpPr>
            <a:spLocks noGrp="1"/>
          </p:cNvSpPr>
          <p:nvPr>
            <p:ph type="dt" sz="half" idx="2"/>
          </p:nvPr>
        </p:nvSpPr>
        <p:spPr>
          <a:xfrm>
            <a:off x="7538400" y="4964400"/>
            <a:ext cx="964800" cy="147600"/>
          </a:xfrm>
          <a:prstGeom prst="rect">
            <a:avLst/>
          </a:prstGeom>
        </p:spPr>
        <p:txBody>
          <a:bodyPr vert="horz" lIns="0" tIns="0" rIns="0" bIns="54000" rtlCol="0" anchor="b" anchorCtr="0"/>
          <a:lstStyle>
            <a:lvl1pPr algn="r">
              <a:defRPr sz="600" b="1">
                <a:solidFill>
                  <a:schemeClr val="tx1">
                    <a:tint val="75000"/>
                  </a:schemeClr>
                </a:solidFill>
              </a:defRPr>
            </a:lvl1pPr>
          </a:lstStyle>
          <a:p>
            <a:fld id="{5A40B5AC-FAA5-4F30-9759-9515366F20B9}" type="datetime1">
              <a:rPr lang="en-US" smtClean="0"/>
              <a:t>1/26/2018</a:t>
            </a:fld>
            <a:endParaRPr lang="en-US" dirty="0"/>
          </a:p>
        </p:txBody>
      </p:sp>
      <p:sp>
        <p:nvSpPr>
          <p:cNvPr id="5" name="Fußzeilenplatzhalter 4"/>
          <p:cNvSpPr>
            <a:spLocks noGrp="1"/>
          </p:cNvSpPr>
          <p:nvPr>
            <p:ph type="ftr" sz="quarter" idx="3"/>
          </p:nvPr>
        </p:nvSpPr>
        <p:spPr>
          <a:xfrm>
            <a:off x="2469600" y="4964400"/>
            <a:ext cx="1224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de-DE"/>
              <a:t>ASM Assembly Systems</a:t>
            </a:r>
            <a:endParaRPr lang="en-US" dirty="0"/>
          </a:p>
        </p:txBody>
      </p:sp>
      <p:sp>
        <p:nvSpPr>
          <p:cNvPr id="6" name="Foliennummernplatzhalter 5"/>
          <p:cNvSpPr>
            <a:spLocks noGrp="1"/>
          </p:cNvSpPr>
          <p:nvPr>
            <p:ph type="sldNum" sz="quarter" idx="4"/>
          </p:nvPr>
        </p:nvSpPr>
        <p:spPr>
          <a:xfrm>
            <a:off x="8589600" y="4964400"/>
            <a:ext cx="468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en-US" dirty="0"/>
              <a:t>Page </a:t>
            </a:r>
            <a:fld id="{9204330F-C5AD-4AC0-88A8-9CB1F8F7EBD6}" type="slidenum">
              <a:rPr lang="en-US" smtClean="0"/>
              <a:pPr/>
              <a:t>‹Nr.›</a:t>
            </a:fld>
            <a:endParaRPr lang="en-US" dirty="0"/>
          </a:p>
        </p:txBody>
      </p:sp>
      <p:grpSp>
        <p:nvGrpSpPr>
          <p:cNvPr id="8" name="Gruppieren 7"/>
          <p:cNvGrpSpPr/>
          <p:nvPr userDrawn="1"/>
        </p:nvGrpSpPr>
        <p:grpSpPr>
          <a:xfrm>
            <a:off x="0" y="900"/>
            <a:ext cx="9144000" cy="5059866"/>
            <a:chOff x="0" y="900"/>
            <a:chExt cx="9144000" cy="5059866"/>
          </a:xfrm>
        </p:grpSpPr>
        <p:sp>
          <p:nvSpPr>
            <p:cNvPr id="19" name="Rechteck 18"/>
            <p:cNvSpPr/>
            <p:nvPr/>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1" i="0" u="none" strike="noStrike" cap="none" normalizeH="0" baseline="0">
                <a:ln>
                  <a:noFill/>
                </a:ln>
                <a:solidFill>
                  <a:schemeClr val="tx1"/>
                </a:solidFill>
                <a:effectLst/>
                <a:latin typeface="Arial" charset="0"/>
                <a:cs typeface="Arial" charset="0"/>
              </a:endParaRPr>
            </a:p>
          </p:txBody>
        </p:sp>
        <p:pic>
          <p:nvPicPr>
            <p:cNvPr id="20" name="Grafik 4"/>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6"/>
            <p:cNvGrpSpPr/>
            <p:nvPr/>
          </p:nvGrpSpPr>
          <p:grpSpPr>
            <a:xfrm>
              <a:off x="2470150" y="4922730"/>
              <a:ext cx="6423024" cy="138036"/>
              <a:chOff x="2470150" y="4922730"/>
              <a:chExt cx="6423024" cy="138036"/>
            </a:xfrm>
          </p:grpSpPr>
          <p:sp>
            <p:nvSpPr>
              <p:cNvPr id="14"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chemeClr val="tx2"/>
                    </a:solidFill>
                  </a:ln>
                </a:endParaRPr>
              </a:p>
            </p:txBody>
          </p:sp>
          <p:sp>
            <p:nvSpPr>
              <p:cNvPr id="15"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chemeClr val="tx2"/>
                    </a:solidFill>
                  </a:ln>
                </a:endParaRPr>
              </a:p>
            </p:txBody>
          </p:sp>
        </p:grpSp>
      </p:grpSp>
      <p:sp>
        <p:nvSpPr>
          <p:cNvPr id="2" name="Titelplatzhalter 1"/>
          <p:cNvSpPr>
            <a:spLocks noGrp="1"/>
          </p:cNvSpPr>
          <p:nvPr>
            <p:ph type="title"/>
          </p:nvPr>
        </p:nvSpPr>
        <p:spPr>
          <a:xfrm>
            <a:off x="0" y="432000"/>
            <a:ext cx="9144000" cy="936000"/>
          </a:xfrm>
          <a:prstGeom prst="rect">
            <a:avLst/>
          </a:prstGeom>
        </p:spPr>
        <p:txBody>
          <a:bodyPr vert="horz" lIns="32400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323850" y="1563690"/>
            <a:ext cx="8569324" cy="3240086"/>
          </a:xfrm>
          <a:prstGeom prst="rect">
            <a:avLst/>
          </a:prstGeom>
        </p:spPr>
        <p:txBody>
          <a:bodyPr vert="horz" lIns="0" tIns="0" rIns="0" bIns="0" rtlCol="0">
            <a:normAutofit/>
          </a:bodyPr>
          <a:lstStyle/>
          <a:p>
            <a:pPr lvl="0"/>
            <a:r>
              <a:rPr lang="en-US" noProof="0" dirty="0" err="1"/>
              <a:t>Textmasterformat</a:t>
            </a:r>
            <a:r>
              <a:rPr lang="de-DE" dirty="0"/>
              <a:t> bearbeiten</a:t>
            </a:r>
          </a:p>
          <a:p>
            <a:pPr lvl="1"/>
            <a:r>
              <a:rPr lang="de-DE"/>
              <a:t>Zweite </a:t>
            </a:r>
            <a:r>
              <a:rPr lang="en-US" noProof="0" dirty="0" err="1"/>
              <a:t>Ebene</a:t>
            </a:r>
            <a:endParaRPr lang="en-US" noProof="0" dirty="0"/>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126048776"/>
      </p:ext>
    </p:extLst>
  </p:cSld>
  <p:clrMap bg1="lt1" tx1="dk1" bg2="lt2" tx2="dk2" accent1="accent1" accent2="accent2" accent3="accent3" accent4="accent4" accent5="accent5" accent6="accent6" hlink="hlink" folHlink="folHlink"/>
  <p:sldLayoutIdLst>
    <p:sldLayoutId id="2147483719" r:id="rId1"/>
    <p:sldLayoutId id="2147483727" r:id="rId2"/>
    <p:sldLayoutId id="2147483666" r:id="rId3"/>
    <p:sldLayoutId id="2147483655" r:id="rId4"/>
    <p:sldLayoutId id="2147483657" r:id="rId5"/>
    <p:sldLayoutId id="2147483728" r:id="rId6"/>
    <p:sldLayoutId id="2147483658" r:id="rId7"/>
    <p:sldLayoutId id="2147483659" r:id="rId8"/>
    <p:sldLayoutId id="2147483678" r:id="rId9"/>
    <p:sldLayoutId id="2147483679" r:id="rId10"/>
    <p:sldLayoutId id="2147483680" r:id="rId11"/>
    <p:sldLayoutId id="2147483681" r:id="rId12"/>
    <p:sldLayoutId id="2147483682" r:id="rId13"/>
    <p:sldLayoutId id="2147483663" r:id="rId14"/>
    <p:sldLayoutId id="2147483700" r:id="rId15"/>
    <p:sldLayoutId id="2147483690" r:id="rId16"/>
    <p:sldLayoutId id="2147483701" r:id="rId17"/>
    <p:sldLayoutId id="2147483662" r:id="rId18"/>
    <p:sldLayoutId id="2147483702" r:id="rId19"/>
    <p:sldLayoutId id="2147483664" r:id="rId20"/>
    <p:sldLayoutId id="2147483703" r:id="rId21"/>
    <p:sldLayoutId id="2147483704" r:id="rId22"/>
    <p:sldLayoutId id="2147483705" r:id="rId23"/>
    <p:sldLayoutId id="2147483709" r:id="rId24"/>
    <p:sldLayoutId id="2147483685" r:id="rId25"/>
    <p:sldLayoutId id="2147483710" r:id="rId26"/>
    <p:sldLayoutId id="2147483716" r:id="rId27"/>
    <p:sldLayoutId id="2147483724" r:id="rId28"/>
    <p:sldLayoutId id="2147483670" r:id="rId29"/>
    <p:sldLayoutId id="2147483694" r:id="rId30"/>
    <p:sldLayoutId id="2147483721" r:id="rId31"/>
    <p:sldLayoutId id="2147483723" r:id="rId32"/>
    <p:sldLayoutId id="2147483726" r:id="rId33"/>
    <p:sldLayoutId id="2147483699" r:id="rId34"/>
    <p:sldLayoutId id="2147483713" r:id="rId35"/>
    <p:sldLayoutId id="2147483667" r:id="rId36"/>
    <p:sldLayoutId id="2147483683" r:id="rId37"/>
    <p:sldLayoutId id="2147483674" r:id="rId38"/>
    <p:sldLayoutId id="2147483675" r:id="rId39"/>
    <p:sldLayoutId id="2147483676" r:id="rId40"/>
    <p:sldLayoutId id="2147483677" r:id="rId41"/>
    <p:sldLayoutId id="2147483695" r:id="rId42"/>
    <p:sldLayoutId id="2147483720" r:id="rId43"/>
    <p:sldLayoutId id="2147483717" r:id="rId44"/>
    <p:sldLayoutId id="2147483668" r:id="rId45"/>
    <p:sldLayoutId id="2147483725" r:id="rId46"/>
  </p:sldLayoutIdLst>
  <p:hf hdr="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spcBef>
          <a:spcPts val="1800"/>
        </a:spcBef>
        <a:spcAft>
          <a:spcPts val="450"/>
        </a:spcAft>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450"/>
        </a:spcBef>
        <a:buFont typeface="+mj-lt"/>
        <a:buNone/>
        <a:defRPr sz="1200" b="1" kern="1200">
          <a:solidFill>
            <a:schemeClr val="tx1"/>
          </a:solidFill>
          <a:latin typeface="+mn-lt"/>
          <a:ea typeface="+mn-ea"/>
          <a:cs typeface="+mn-cs"/>
        </a:defRPr>
      </a:lvl2pPr>
      <a:lvl3pPr marL="1368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3pPr>
      <a:lvl4pPr marL="273600" indent="-136800" algn="l" defTabSz="914400" rtl="0" eaLnBrk="1" latinLnBrk="0" hangingPunct="1">
        <a:spcBef>
          <a:spcPts val="360"/>
        </a:spcBef>
        <a:buClr>
          <a:schemeClr val="accent2"/>
        </a:buClr>
        <a:buSzPct val="80000"/>
        <a:buFont typeface="Wingdings" panose="05000000000000000000" pitchFamily="2" charset="2"/>
        <a:buChar char="§"/>
        <a:tabLst/>
        <a:defRPr sz="1200" kern="1200">
          <a:solidFill>
            <a:schemeClr val="tx1"/>
          </a:solidFill>
          <a:latin typeface="+mn-lt"/>
          <a:ea typeface="+mn-ea"/>
          <a:cs typeface="+mn-cs"/>
        </a:defRPr>
      </a:lvl4pPr>
      <a:lvl5pPr marL="4104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
            </p:custDataLst>
            <p:extLst>
              <p:ext uri="{D42A27DB-BD31-4B8C-83A1-F6EECF244321}">
                <p14:modId xmlns:p14="http://schemas.microsoft.com/office/powerpoint/2010/main" val="2266046030"/>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3325" name="think-cell Folie" r:id="rId14" imgW="180" imgH="180" progId="TCLayout.ActiveDocument.1">
                  <p:embed/>
                </p:oleObj>
              </mc:Choice>
              <mc:Fallback>
                <p:oleObj name="think-cell Folie" r:id="rId14" imgW="180" imgH="180" progId="TCLayout.ActiveDocument.1">
                  <p:embed/>
                  <p:pic>
                    <p:nvPicPr>
                      <p:cNvPr id="0" name=""/>
                      <p:cNvPicPr/>
                      <p:nvPr/>
                    </p:nvPicPr>
                    <p:blipFill>
                      <a:blip r:embed="rId15"/>
                      <a:stretch>
                        <a:fillRect/>
                      </a:stretch>
                    </p:blipFill>
                    <p:spPr>
                      <a:xfrm>
                        <a:off x="1591" y="1192"/>
                        <a:ext cx="1587" cy="1190"/>
                      </a:xfrm>
                      <a:prstGeom prst="rect">
                        <a:avLst/>
                      </a:prstGeom>
                    </p:spPr>
                  </p:pic>
                </p:oleObj>
              </mc:Fallback>
            </mc:AlternateContent>
          </a:graphicData>
        </a:graphic>
      </p:graphicFrame>
      <p:pic>
        <p:nvPicPr>
          <p:cNvPr id="1026" name="Picture 2" descr="T:\ASM\16-2458-ASM PPT Company\Masterhintergründe\master4zu34.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0" y="90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7173" name="Rectangle 5"/>
          <p:cNvSpPr>
            <a:spLocks noGrp="1" noChangeArrowheads="1"/>
          </p:cNvSpPr>
          <p:nvPr>
            <p:ph type="body" idx="1"/>
          </p:nvPr>
        </p:nvSpPr>
        <p:spPr bwMode="gray">
          <a:xfrm>
            <a:off x="2470150" y="1214438"/>
            <a:ext cx="6423024" cy="357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1"/>
            <a:endParaRPr lang="en-US" dirty="0"/>
          </a:p>
        </p:txBody>
      </p:sp>
      <p:sp>
        <p:nvSpPr>
          <p:cNvPr id="7170" name="cdtDesignTags Id753827"/>
          <p:cNvSpPr>
            <a:spLocks noChangeShapeType="1"/>
          </p:cNvSpPr>
          <p:nvPr>
            <p:custDataLst>
              <p:tags r:id="rId1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1" name="cdtMasterTags"/>
          <p:cNvSpPr>
            <a:spLocks noChangeShapeType="1"/>
          </p:cNvSpPr>
          <p:nvPr>
            <p:custDataLst>
              <p:tags r:id="rId13"/>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5" name="Rectangle 7"/>
          <p:cNvSpPr>
            <a:spLocks noGrp="1" noChangeArrowheads="1"/>
          </p:cNvSpPr>
          <p:nvPr>
            <p:ph type="sldNum" sz="quarter" idx="4"/>
          </p:nvPr>
        </p:nvSpPr>
        <p:spPr bwMode="gray">
          <a:xfrm>
            <a:off x="8588479" y="4930869"/>
            <a:ext cx="363882"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53957" numCol="1" anchor="b" anchorCtr="0" compatLnSpc="1">
            <a:prstTxWarp prst="textNoShape">
              <a:avLst/>
            </a:prstTxWarp>
            <a:spAutoFit/>
          </a:bodyPr>
          <a:lstStyle>
            <a:lvl1pPr eaLnBrk="0" hangingPunct="0">
              <a:tabLst>
                <a:tab pos="3633260" algn="ctr"/>
              </a:tabLst>
              <a:defRPr sz="600" b="1">
                <a:solidFill>
                  <a:schemeClr val="tx2"/>
                </a:solidFill>
              </a:defRPr>
            </a:lvl1pPr>
          </a:lstStyle>
          <a:p>
            <a:pPr fontAlgn="base">
              <a:spcBef>
                <a:spcPct val="0"/>
              </a:spcBef>
              <a:spcAft>
                <a:spcPct val="0"/>
              </a:spcAft>
            </a:pPr>
            <a:r>
              <a:rPr lang="en-US" dirty="0" err="1">
                <a:solidFill>
                  <a:srgbClr val="97A0A5"/>
                </a:solidFill>
                <a:cs typeface="Arial" charset="0"/>
              </a:rPr>
              <a:t>Seite</a:t>
            </a:r>
            <a:r>
              <a:rPr lang="en-US" dirty="0">
                <a:solidFill>
                  <a:srgbClr val="97A0A5"/>
                </a:solidFill>
                <a:cs typeface="Arial" charset="0"/>
              </a:rPr>
              <a:t> </a:t>
            </a:r>
            <a:fld id="{FE751076-F3C9-4E4A-84C6-36C855AF0356}" type="slidenum">
              <a:rPr lang="en-US" smtClean="0">
                <a:solidFill>
                  <a:srgbClr val="97A0A5"/>
                </a:solidFill>
                <a:cs typeface="Arial" charset="0"/>
              </a:rPr>
              <a:pPr fontAlgn="base">
                <a:spcBef>
                  <a:spcPct val="0"/>
                </a:spcBef>
                <a:spcAft>
                  <a:spcPct val="0"/>
                </a:spcAft>
              </a:pPr>
              <a:t>‹Nr.›</a:t>
            </a:fld>
            <a:endParaRPr lang="en-US" dirty="0">
              <a:solidFill>
                <a:srgbClr val="97A0A5"/>
              </a:solidFill>
              <a:cs typeface="Arial" charset="0"/>
            </a:endParaRPr>
          </a:p>
        </p:txBody>
      </p:sp>
      <p:sp>
        <p:nvSpPr>
          <p:cNvPr id="7178" name="Rectangle 10"/>
          <p:cNvSpPr>
            <a:spLocks noGrp="1" noChangeArrowheads="1"/>
          </p:cNvSpPr>
          <p:nvPr>
            <p:ph type="ftr" sz="quarter" idx="3"/>
          </p:nvPr>
        </p:nvSpPr>
        <p:spPr bwMode="gray">
          <a:xfrm>
            <a:off x="2470150" y="4930869"/>
            <a:ext cx="2605901"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l" eaLnBrk="0" hangingPunct="0">
              <a:tabLst>
                <a:tab pos="3633260" algn="ctr"/>
              </a:tabLst>
              <a:defRPr sz="600" b="1">
                <a:solidFill>
                  <a:schemeClr val="tx2"/>
                </a:solidFill>
              </a:defRPr>
            </a:lvl1pPr>
          </a:lstStyle>
          <a:p>
            <a:pPr fontAlgn="base">
              <a:spcBef>
                <a:spcPct val="0"/>
              </a:spcBef>
              <a:spcAft>
                <a:spcPct val="0"/>
              </a:spcAft>
            </a:pPr>
            <a:r>
              <a:rPr lang="en-US" dirty="0">
                <a:solidFill>
                  <a:srgbClr val="97A0A5"/>
                </a:solidFill>
                <a:cs typeface="Arial" charset="0"/>
              </a:rPr>
              <a:t>ASM Assembly Systems</a:t>
            </a:r>
          </a:p>
        </p:txBody>
      </p:sp>
      <p:sp>
        <p:nvSpPr>
          <p:cNvPr id="7182" name="Rectangle 14"/>
          <p:cNvSpPr>
            <a:spLocks noGrp="1" noChangeArrowheads="1"/>
          </p:cNvSpPr>
          <p:nvPr>
            <p:ph type="dt" sz="half" idx="2"/>
          </p:nvPr>
        </p:nvSpPr>
        <p:spPr bwMode="gray">
          <a:xfrm>
            <a:off x="7537477" y="4930869"/>
            <a:ext cx="965200"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r" eaLnBrk="0" hangingPunct="0">
              <a:tabLst>
                <a:tab pos="3633260" algn="ctr"/>
              </a:tabLst>
              <a:defRPr sz="600" b="1">
                <a:solidFill>
                  <a:schemeClr val="tx2"/>
                </a:solidFill>
              </a:defRPr>
            </a:lvl1pPr>
          </a:lstStyle>
          <a:p>
            <a:pPr fontAlgn="base">
              <a:spcBef>
                <a:spcPct val="0"/>
              </a:spcBef>
              <a:spcAft>
                <a:spcPct val="0"/>
              </a:spcAft>
            </a:pPr>
            <a:fld id="{AFEE0707-92A1-428D-8B0B-8ABB8726B2A6}" type="datetime1">
              <a:rPr lang="en-US" smtClean="0">
                <a:solidFill>
                  <a:srgbClr val="97A0A5"/>
                </a:solidFill>
                <a:cs typeface="Arial" charset="0"/>
              </a:rPr>
              <a:pPr fontAlgn="base">
                <a:spcBef>
                  <a:spcPct val="0"/>
                </a:spcBef>
                <a:spcAft>
                  <a:spcPct val="0"/>
                </a:spcAft>
              </a:pPr>
              <a:t>1/26/2018</a:t>
            </a:fld>
            <a:endParaRPr lang="en-US" dirty="0">
              <a:solidFill>
                <a:srgbClr val="97A0A5"/>
              </a:solidFill>
              <a:cs typeface="Arial" charset="0"/>
            </a:endParaRPr>
          </a:p>
        </p:txBody>
      </p:sp>
      <p:grpSp>
        <p:nvGrpSpPr>
          <p:cNvPr id="4" name="Gruppieren 3"/>
          <p:cNvGrpSpPr/>
          <p:nvPr userDrawn="1"/>
        </p:nvGrpSpPr>
        <p:grpSpPr>
          <a:xfrm>
            <a:off x="2470150" y="4922730"/>
            <a:ext cx="6423024" cy="138036"/>
            <a:chOff x="2470150" y="6563640"/>
            <a:chExt cx="6423024" cy="184048"/>
          </a:xfrm>
        </p:grpSpPr>
        <p:sp>
          <p:nvSpPr>
            <p:cNvPr id="7176" name="Line 8"/>
            <p:cNvSpPr>
              <a:spLocks noChangeShapeType="1"/>
            </p:cNvSpPr>
            <p:nvPr/>
          </p:nvSpPr>
          <p:spPr bwMode="gray">
            <a:xfrm>
              <a:off x="2470150" y="656364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p:nvSpPr>
          <p:spPr bwMode="gray">
            <a:xfrm rot="5400000">
              <a:off x="8477673" y="6675688"/>
              <a:ext cx="144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grpSp>
      <p:grpSp>
        <p:nvGrpSpPr>
          <p:cNvPr id="2" name="Gruppieren 1"/>
          <p:cNvGrpSpPr/>
          <p:nvPr userDrawn="1"/>
        </p:nvGrpSpPr>
        <p:grpSpPr>
          <a:xfrm>
            <a:off x="0" y="900"/>
            <a:ext cx="9144000" cy="324000"/>
            <a:chOff x="0" y="1200"/>
            <a:chExt cx="9144000" cy="432000"/>
          </a:xfrm>
        </p:grpSpPr>
        <p:sp>
          <p:nvSpPr>
            <p:cNvPr id="12" name="Rechteck 1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3" name="Grafik 4"/>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hteck 2"/>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5" name="Rechteck 4"/>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3151463430"/>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p:txStyles>
    <p:titleStyle>
      <a:lvl1pPr algn="l" rtl="0" eaLnBrk="1" fontAlgn="base" hangingPunct="1">
        <a:lnSpc>
          <a:spcPct val="100000"/>
        </a:lnSpc>
        <a:spcBef>
          <a:spcPct val="0"/>
        </a:spcBef>
        <a:spcAft>
          <a:spcPct val="0"/>
        </a:spcAft>
        <a:tabLst>
          <a:tab pos="201055" algn="l"/>
        </a:tabLst>
        <a:defRPr sz="1300" b="0">
          <a:solidFill>
            <a:schemeClr val="bg1"/>
          </a:solidFill>
          <a:latin typeface="+mj-lt"/>
          <a:ea typeface="+mj-ea"/>
          <a:cs typeface="+mj-cs"/>
        </a:defRPr>
      </a:lvl1pPr>
      <a:lvl2pPr algn="l" rtl="0" eaLnBrk="1" fontAlgn="base" hangingPunct="1">
        <a:lnSpc>
          <a:spcPct val="90000"/>
        </a:lnSpc>
        <a:spcBef>
          <a:spcPct val="0"/>
        </a:spcBef>
        <a:spcAft>
          <a:spcPct val="0"/>
        </a:spcAft>
        <a:tabLst>
          <a:tab pos="201055" algn="l"/>
        </a:tabLst>
        <a:defRPr sz="1500" b="1">
          <a:solidFill>
            <a:schemeClr val="tx1"/>
          </a:solidFill>
          <a:latin typeface="Arial" charset="0"/>
        </a:defRPr>
      </a:lvl2pPr>
      <a:lvl3pPr algn="l" rtl="0" eaLnBrk="1" fontAlgn="base" hangingPunct="1">
        <a:lnSpc>
          <a:spcPct val="90000"/>
        </a:lnSpc>
        <a:spcBef>
          <a:spcPct val="0"/>
        </a:spcBef>
        <a:spcAft>
          <a:spcPct val="0"/>
        </a:spcAft>
        <a:tabLst>
          <a:tab pos="201055" algn="l"/>
        </a:tabLst>
        <a:defRPr sz="1500" b="1">
          <a:solidFill>
            <a:schemeClr val="tx1"/>
          </a:solidFill>
          <a:latin typeface="Arial" charset="0"/>
        </a:defRPr>
      </a:lvl3pPr>
      <a:lvl4pPr algn="l" rtl="0" eaLnBrk="1" fontAlgn="base" hangingPunct="1">
        <a:lnSpc>
          <a:spcPct val="90000"/>
        </a:lnSpc>
        <a:spcBef>
          <a:spcPct val="0"/>
        </a:spcBef>
        <a:spcAft>
          <a:spcPct val="0"/>
        </a:spcAft>
        <a:tabLst>
          <a:tab pos="201055" algn="l"/>
        </a:tabLst>
        <a:defRPr sz="1500" b="1">
          <a:solidFill>
            <a:schemeClr val="tx1"/>
          </a:solidFill>
          <a:latin typeface="Arial" charset="0"/>
        </a:defRPr>
      </a:lvl4pPr>
      <a:lvl5pPr algn="l" rtl="0" eaLnBrk="1" fontAlgn="base" hangingPunct="1">
        <a:lnSpc>
          <a:spcPct val="90000"/>
        </a:lnSpc>
        <a:spcBef>
          <a:spcPct val="0"/>
        </a:spcBef>
        <a:spcAft>
          <a:spcPct val="0"/>
        </a:spcAft>
        <a:tabLst>
          <a:tab pos="201055" algn="l"/>
        </a:tabLst>
        <a:defRPr sz="1500" b="1">
          <a:solidFill>
            <a:schemeClr val="tx1"/>
          </a:solidFill>
          <a:latin typeface="Arial" charset="0"/>
        </a:defRPr>
      </a:lvl5pPr>
      <a:lvl6pPr marL="342626" algn="l" rtl="0" eaLnBrk="1" fontAlgn="base" hangingPunct="1">
        <a:lnSpc>
          <a:spcPct val="90000"/>
        </a:lnSpc>
        <a:spcBef>
          <a:spcPct val="0"/>
        </a:spcBef>
        <a:spcAft>
          <a:spcPct val="0"/>
        </a:spcAft>
        <a:tabLst>
          <a:tab pos="201055" algn="l"/>
        </a:tabLst>
        <a:defRPr sz="1500" b="1">
          <a:solidFill>
            <a:schemeClr val="tx1"/>
          </a:solidFill>
          <a:latin typeface="Arial" charset="0"/>
        </a:defRPr>
      </a:lvl6pPr>
      <a:lvl7pPr marL="685251" algn="l" rtl="0" eaLnBrk="1" fontAlgn="base" hangingPunct="1">
        <a:lnSpc>
          <a:spcPct val="90000"/>
        </a:lnSpc>
        <a:spcBef>
          <a:spcPct val="0"/>
        </a:spcBef>
        <a:spcAft>
          <a:spcPct val="0"/>
        </a:spcAft>
        <a:tabLst>
          <a:tab pos="201055" algn="l"/>
        </a:tabLst>
        <a:defRPr sz="1500" b="1">
          <a:solidFill>
            <a:schemeClr val="tx1"/>
          </a:solidFill>
          <a:latin typeface="Arial" charset="0"/>
        </a:defRPr>
      </a:lvl7pPr>
      <a:lvl8pPr marL="1027877" algn="l" rtl="0" eaLnBrk="1" fontAlgn="base" hangingPunct="1">
        <a:lnSpc>
          <a:spcPct val="90000"/>
        </a:lnSpc>
        <a:spcBef>
          <a:spcPct val="0"/>
        </a:spcBef>
        <a:spcAft>
          <a:spcPct val="0"/>
        </a:spcAft>
        <a:tabLst>
          <a:tab pos="201055" algn="l"/>
        </a:tabLst>
        <a:defRPr sz="1500" b="1">
          <a:solidFill>
            <a:schemeClr val="tx1"/>
          </a:solidFill>
          <a:latin typeface="Arial" charset="0"/>
        </a:defRPr>
      </a:lvl8pPr>
      <a:lvl9pPr marL="1370503" algn="l" rtl="0" eaLnBrk="1" fontAlgn="base" hangingPunct="1">
        <a:lnSpc>
          <a:spcPct val="90000"/>
        </a:lnSpc>
        <a:spcBef>
          <a:spcPct val="0"/>
        </a:spcBef>
        <a:spcAft>
          <a:spcPct val="0"/>
        </a:spcAft>
        <a:tabLst>
          <a:tab pos="201055" algn="l"/>
        </a:tabLst>
        <a:defRPr sz="1500" b="1">
          <a:solidFill>
            <a:schemeClr val="tx1"/>
          </a:solidFill>
          <a:latin typeface="Arial" charset="0"/>
        </a:defRPr>
      </a:lvl9pPr>
    </p:titleStyle>
    <p:bodyStyle>
      <a:lvl1pPr algn="l" rtl="0" eaLnBrk="1" fontAlgn="base" hangingPunct="1">
        <a:spcBef>
          <a:spcPts val="719"/>
        </a:spcBef>
        <a:spcAft>
          <a:spcPct val="0"/>
        </a:spcAft>
        <a:defRPr sz="1000" b="1">
          <a:solidFill>
            <a:schemeClr val="accent1"/>
          </a:solidFill>
          <a:latin typeface="+mn-lt"/>
          <a:ea typeface="+mn-ea"/>
          <a:cs typeface="+mn-cs"/>
        </a:defRPr>
      </a:lvl1pPr>
      <a:lvl2pPr marL="1190" algn="l" rtl="0" eaLnBrk="1" fontAlgn="base" hangingPunct="1">
        <a:spcBef>
          <a:spcPts val="899"/>
        </a:spcBef>
        <a:spcAft>
          <a:spcPct val="0"/>
        </a:spcAft>
        <a:defRPr sz="1000" b="1">
          <a:solidFill>
            <a:schemeClr val="tx1"/>
          </a:solidFill>
          <a:latin typeface="+mn-lt"/>
        </a:defRPr>
      </a:lvl2pPr>
      <a:lvl3pPr marL="136813" indent="-134433"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3pPr>
      <a:lvl4pPr marL="262918" indent="-124916"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4pPr>
      <a:lvl5pPr marL="411627" indent="-147519"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5pPr>
      <a:lvl6pPr marL="754252"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6pPr>
      <a:lvl7pPr marL="1096878"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7pPr>
      <a:lvl8pPr marL="1439504"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8pPr>
      <a:lvl9pPr marL="1782129"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9pPr>
    </p:bodyStyle>
    <p:otherStyle>
      <a:defPPr>
        <a:defRPr lang="de-DE"/>
      </a:defPPr>
      <a:lvl1pPr marL="0" algn="l" defTabSz="685251" rtl="0" eaLnBrk="1" latinLnBrk="0" hangingPunct="1">
        <a:defRPr sz="1300" kern="1200">
          <a:solidFill>
            <a:schemeClr val="tx1"/>
          </a:solidFill>
          <a:latin typeface="+mn-lt"/>
          <a:ea typeface="+mn-ea"/>
          <a:cs typeface="+mn-cs"/>
        </a:defRPr>
      </a:lvl1pPr>
      <a:lvl2pPr marL="342626" algn="l" defTabSz="685251" rtl="0" eaLnBrk="1" latinLnBrk="0" hangingPunct="1">
        <a:defRPr sz="1300" kern="1200">
          <a:solidFill>
            <a:schemeClr val="tx1"/>
          </a:solidFill>
          <a:latin typeface="+mn-lt"/>
          <a:ea typeface="+mn-ea"/>
          <a:cs typeface="+mn-cs"/>
        </a:defRPr>
      </a:lvl2pPr>
      <a:lvl3pPr marL="685251" algn="l" defTabSz="685251" rtl="0" eaLnBrk="1" latinLnBrk="0" hangingPunct="1">
        <a:defRPr sz="1300" kern="1200">
          <a:solidFill>
            <a:schemeClr val="tx1"/>
          </a:solidFill>
          <a:latin typeface="+mn-lt"/>
          <a:ea typeface="+mn-ea"/>
          <a:cs typeface="+mn-cs"/>
        </a:defRPr>
      </a:lvl3pPr>
      <a:lvl4pPr marL="1027877" algn="l" defTabSz="685251" rtl="0" eaLnBrk="1" latinLnBrk="0" hangingPunct="1">
        <a:defRPr sz="1300" kern="1200">
          <a:solidFill>
            <a:schemeClr val="tx1"/>
          </a:solidFill>
          <a:latin typeface="+mn-lt"/>
          <a:ea typeface="+mn-ea"/>
          <a:cs typeface="+mn-cs"/>
        </a:defRPr>
      </a:lvl4pPr>
      <a:lvl5pPr marL="1370503" algn="l" defTabSz="685251" rtl="0" eaLnBrk="1" latinLnBrk="0" hangingPunct="1">
        <a:defRPr sz="1300" kern="1200">
          <a:solidFill>
            <a:schemeClr val="tx1"/>
          </a:solidFill>
          <a:latin typeface="+mn-lt"/>
          <a:ea typeface="+mn-ea"/>
          <a:cs typeface="+mn-cs"/>
        </a:defRPr>
      </a:lvl5pPr>
      <a:lvl6pPr marL="1713128" algn="l" defTabSz="685251" rtl="0" eaLnBrk="1" latinLnBrk="0" hangingPunct="1">
        <a:defRPr sz="1300" kern="1200">
          <a:solidFill>
            <a:schemeClr val="tx1"/>
          </a:solidFill>
          <a:latin typeface="+mn-lt"/>
          <a:ea typeface="+mn-ea"/>
          <a:cs typeface="+mn-cs"/>
        </a:defRPr>
      </a:lvl6pPr>
      <a:lvl7pPr marL="2055754" algn="l" defTabSz="685251" rtl="0" eaLnBrk="1" latinLnBrk="0" hangingPunct="1">
        <a:defRPr sz="1300" kern="1200">
          <a:solidFill>
            <a:schemeClr val="tx1"/>
          </a:solidFill>
          <a:latin typeface="+mn-lt"/>
          <a:ea typeface="+mn-ea"/>
          <a:cs typeface="+mn-cs"/>
        </a:defRPr>
      </a:lvl7pPr>
      <a:lvl8pPr marL="2398380" algn="l" defTabSz="685251" rtl="0" eaLnBrk="1" latinLnBrk="0" hangingPunct="1">
        <a:defRPr sz="1300" kern="1200">
          <a:solidFill>
            <a:schemeClr val="tx1"/>
          </a:solidFill>
          <a:latin typeface="+mn-lt"/>
          <a:ea typeface="+mn-ea"/>
          <a:cs typeface="+mn-cs"/>
        </a:defRPr>
      </a:lvl8pPr>
      <a:lvl9pPr marL="2741005" algn="l" defTabSz="685251"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cdtDesignTags Id753827"/>
          <p:cNvSpPr>
            <a:spLocks noChangeShapeType="1"/>
          </p:cNvSpPr>
          <p:nvPr>
            <p:custDataLst>
              <p:tags r:id="rId23"/>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de-DE" sz="1600" b="1">
              <a:solidFill>
                <a:srgbClr val="000000"/>
              </a:solidFill>
              <a:cs typeface="Arial" charset="0"/>
            </a:endParaRPr>
          </a:p>
        </p:txBody>
      </p:sp>
      <p:sp>
        <p:nvSpPr>
          <p:cNvPr id="7171" name="cdtMasterTags"/>
          <p:cNvSpPr>
            <a:spLocks noChangeShapeType="1"/>
          </p:cNvSpPr>
          <p:nvPr>
            <p:custDataLst>
              <p:tags r:id="rId24"/>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de-DE" sz="1600" b="1">
              <a:solidFill>
                <a:srgbClr val="000000"/>
              </a:solidFill>
              <a:cs typeface="Arial" charset="0"/>
            </a:endParaRPr>
          </a:p>
        </p:txBody>
      </p:sp>
      <p:sp>
        <p:nvSpPr>
          <p:cNvPr id="7172" name="Rectangle 4"/>
          <p:cNvSpPr>
            <a:spLocks noGrp="1" noChangeArrowheads="1"/>
          </p:cNvSpPr>
          <p:nvPr>
            <p:ph type="title"/>
          </p:nvPr>
        </p:nvSpPr>
        <p:spPr bwMode="gray">
          <a:xfrm>
            <a:off x="0" y="378000"/>
            <a:ext cx="9144000" cy="701278"/>
          </a:xfrm>
          <a:prstGeom prst="rect">
            <a:avLst/>
          </a:prstGeom>
          <a:solidFill>
            <a:schemeClr val="bg2"/>
          </a:solidFill>
          <a:ln>
            <a:noFill/>
          </a:ln>
          <a:effectLst/>
          <a:extLst/>
        </p:spPr>
        <p:txBody>
          <a:bodyPr vert="horz" wrap="square" lIns="432000" tIns="144000" rIns="432000" bIns="0" numCol="1" anchor="t" anchorCtr="0" compatLnSpc="1">
            <a:prstTxWarp prst="textNoShape">
              <a:avLst/>
            </a:prstTxWarp>
          </a:bodyPr>
          <a:lstStyle/>
          <a:p>
            <a:pPr lvl="0"/>
            <a:r>
              <a:rPr lang="de-DE" dirty="0"/>
              <a:t>Titelmasterformat durch Klicken bearbeiten</a:t>
            </a:r>
          </a:p>
        </p:txBody>
      </p:sp>
      <p:sp>
        <p:nvSpPr>
          <p:cNvPr id="7173" name="Rectangle 5"/>
          <p:cNvSpPr>
            <a:spLocks noGrp="1" noChangeArrowheads="1"/>
          </p:cNvSpPr>
          <p:nvPr>
            <p:ph type="body" idx="1"/>
          </p:nvPr>
        </p:nvSpPr>
        <p:spPr bwMode="gray">
          <a:xfrm>
            <a:off x="431800" y="1214437"/>
            <a:ext cx="8280400" cy="357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175" name="Rectangle 7"/>
          <p:cNvSpPr>
            <a:spLocks noGrp="1" noChangeArrowheads="1"/>
          </p:cNvSpPr>
          <p:nvPr>
            <p:ph type="sldNum" sz="quarter" idx="4"/>
          </p:nvPr>
        </p:nvSpPr>
        <p:spPr bwMode="gray">
          <a:xfrm>
            <a:off x="1727208" y="4947686"/>
            <a:ext cx="474489" cy="19581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72000" numCol="1" anchor="b" anchorCtr="0" compatLnSpc="1">
            <a:prstTxWarp prst="textNoShape">
              <a:avLst/>
            </a:prstTxWarp>
            <a:spAutoFit/>
          </a:bodyPr>
          <a:lstStyle>
            <a:lvl1pPr eaLnBrk="0" hangingPunct="0">
              <a:tabLst>
                <a:tab pos="4848225" algn="ctr"/>
              </a:tabLst>
              <a:defRPr sz="800" b="0">
                <a:solidFill>
                  <a:srgbClr val="000000"/>
                </a:solidFill>
              </a:defRPr>
            </a:lvl1pPr>
          </a:lstStyle>
          <a:p>
            <a:pPr fontAlgn="base">
              <a:spcBef>
                <a:spcPct val="0"/>
              </a:spcBef>
              <a:spcAft>
                <a:spcPct val="0"/>
              </a:spcAft>
            </a:pPr>
            <a:r>
              <a:rPr lang="de-DE">
                <a:cs typeface="Arial" charset="0"/>
              </a:rPr>
              <a:t>Page </a:t>
            </a:r>
            <a:fld id="{FE751076-F3C9-4E4A-84C6-36C855AF0356}" type="slidenum">
              <a:rPr lang="de-DE">
                <a:cs typeface="Arial" charset="0"/>
              </a:rPr>
              <a:pPr fontAlgn="base">
                <a:spcBef>
                  <a:spcPct val="0"/>
                </a:spcBef>
                <a:spcAft>
                  <a:spcPct val="0"/>
                </a:spcAft>
              </a:pPr>
              <a:t>‹Nr.›</a:t>
            </a:fld>
            <a:endParaRPr lang="de-DE">
              <a:cs typeface="Arial" charset="0"/>
            </a:endParaRPr>
          </a:p>
        </p:txBody>
      </p:sp>
      <p:sp>
        <p:nvSpPr>
          <p:cNvPr id="7176" name="Line 8"/>
          <p:cNvSpPr>
            <a:spLocks noChangeShapeType="1"/>
          </p:cNvSpPr>
          <p:nvPr/>
        </p:nvSpPr>
        <p:spPr bwMode="gray">
          <a:xfrm>
            <a:off x="0" y="4933950"/>
            <a:ext cx="91440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fontAlgn="base">
              <a:spcBef>
                <a:spcPct val="0"/>
              </a:spcBef>
              <a:spcAft>
                <a:spcPct val="0"/>
              </a:spcAft>
            </a:pPr>
            <a:endParaRPr lang="de-DE" sz="1600" b="1">
              <a:solidFill>
                <a:srgbClr val="000000"/>
              </a:solidFill>
              <a:cs typeface="Arial" charset="0"/>
            </a:endParaRPr>
          </a:p>
        </p:txBody>
      </p:sp>
      <p:sp>
        <p:nvSpPr>
          <p:cNvPr id="7178" name="Rectangle 10"/>
          <p:cNvSpPr>
            <a:spLocks noGrp="1" noChangeArrowheads="1"/>
          </p:cNvSpPr>
          <p:nvPr>
            <p:ph type="ftr" sz="quarter" idx="3"/>
          </p:nvPr>
        </p:nvSpPr>
        <p:spPr bwMode="gray">
          <a:xfrm>
            <a:off x="3708408" y="4947686"/>
            <a:ext cx="5006975" cy="19581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72000" numCol="1" anchor="b" anchorCtr="0" compatLnSpc="1">
            <a:prstTxWarp prst="textNoShape">
              <a:avLst/>
            </a:prstTxWarp>
            <a:spAutoFit/>
          </a:bodyPr>
          <a:lstStyle>
            <a:lvl1pPr algn="r" eaLnBrk="0" hangingPunct="0">
              <a:tabLst>
                <a:tab pos="4848225" algn="ctr"/>
              </a:tabLst>
              <a:defRPr sz="800" b="0">
                <a:solidFill>
                  <a:srgbClr val="000000"/>
                </a:solidFill>
              </a:defRPr>
            </a:lvl1pPr>
          </a:lstStyle>
          <a:p>
            <a:pPr fontAlgn="base">
              <a:spcBef>
                <a:spcPct val="0"/>
              </a:spcBef>
              <a:spcAft>
                <a:spcPct val="0"/>
              </a:spcAft>
            </a:pPr>
            <a:r>
              <a:rPr lang="en-US">
                <a:cs typeface="Arial" charset="0"/>
              </a:rPr>
              <a:t>ASM Assembly Systems</a:t>
            </a:r>
            <a:endParaRPr lang="de-DE">
              <a:cs typeface="Arial" charset="0"/>
            </a:endParaRPr>
          </a:p>
        </p:txBody>
      </p:sp>
      <p:pic>
        <p:nvPicPr>
          <p:cNvPr id="7180" name="Picture 12" descr="101206_ASM_Logo_V2_weiss"/>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7932738" y="38983"/>
            <a:ext cx="1008062" cy="300038"/>
          </a:xfrm>
          <a:prstGeom prst="rect">
            <a:avLst/>
          </a:prstGeom>
          <a:noFill/>
          <a:extLst>
            <a:ext uri="{909E8E84-426E-40DD-AFC4-6F175D3DCCD1}">
              <a14:hiddenFill xmlns:a14="http://schemas.microsoft.com/office/drawing/2010/main">
                <a:solidFill>
                  <a:srgbClr val="FFFFFF"/>
                </a:solidFill>
              </a14:hiddenFill>
            </a:ext>
          </a:extLst>
        </p:spPr>
      </p:pic>
      <p:sp>
        <p:nvSpPr>
          <p:cNvPr id="7182" name="Rectangle 14"/>
          <p:cNvSpPr>
            <a:spLocks noGrp="1" noChangeArrowheads="1"/>
          </p:cNvSpPr>
          <p:nvPr>
            <p:ph type="dt" sz="half" idx="2"/>
          </p:nvPr>
        </p:nvSpPr>
        <p:spPr bwMode="gray">
          <a:xfrm>
            <a:off x="0" y="4947686"/>
            <a:ext cx="965200" cy="195814"/>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72000" numCol="1" anchor="b" anchorCtr="0" compatLnSpc="1">
            <a:prstTxWarp prst="textNoShape">
              <a:avLst/>
            </a:prstTxWarp>
            <a:spAutoFit/>
          </a:bodyPr>
          <a:lstStyle>
            <a:lvl1pPr algn="r" eaLnBrk="0" hangingPunct="0">
              <a:tabLst>
                <a:tab pos="4848225" algn="ctr"/>
              </a:tabLst>
              <a:defRPr sz="800" b="0">
                <a:solidFill>
                  <a:srgbClr val="000000"/>
                </a:solidFill>
              </a:defRPr>
            </a:lvl1pPr>
          </a:lstStyle>
          <a:p>
            <a:pPr fontAlgn="base">
              <a:spcBef>
                <a:spcPct val="0"/>
              </a:spcBef>
              <a:spcAft>
                <a:spcPct val="0"/>
              </a:spcAft>
            </a:pPr>
            <a:fld id="{8AEF24BA-9330-4DB8-84D0-1E697C048EDF}" type="datetime1">
              <a:rPr lang="en-GB" smtClean="0">
                <a:cs typeface="Arial" charset="0"/>
              </a:rPr>
              <a:pPr fontAlgn="base">
                <a:spcBef>
                  <a:spcPct val="0"/>
                </a:spcBef>
                <a:spcAft>
                  <a:spcPct val="0"/>
                </a:spcAft>
              </a:pPr>
              <a:t>26/01/2018</a:t>
            </a:fld>
            <a:endParaRPr lang="de-DE" dirty="0">
              <a:cs typeface="Arial" charset="0"/>
            </a:endParaRPr>
          </a:p>
        </p:txBody>
      </p:sp>
      <p:sp>
        <p:nvSpPr>
          <p:cNvPr id="4" name="Rechteck 3"/>
          <p:cNvSpPr/>
          <p:nvPr/>
        </p:nvSpPr>
        <p:spPr bwMode="auto">
          <a:xfrm>
            <a:off x="0" y="0"/>
            <a:ext cx="9144000" cy="378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5" name="Grafik 4"/>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7932738" y="43085"/>
            <a:ext cx="1003198" cy="291839"/>
          </a:xfrm>
          <a:prstGeom prst="rect">
            <a:avLst/>
          </a:prstGeom>
        </p:spPr>
      </p:pic>
      <p:pic>
        <p:nvPicPr>
          <p:cNvPr id="1027" name="Picture 3" descr="T:\ASM\_Logo &amp; CD\Logos SIPLACE\20110311_ASM_Siplace_Logos\20110311_ASM_Siplace_Logos\110311_Logo_nnn_weiß\110311_Logo_nnn_weiß.png"/>
          <p:cNvPicPr>
            <a:picLocks noChangeAspect="1"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auto">
          <a:xfrm>
            <a:off x="432000" y="106134"/>
            <a:ext cx="642466" cy="164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92449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Lst>
  <p:hf hdr="0"/>
  <p:txStyles>
    <p:titleStyle>
      <a:lvl1pPr algn="l" rtl="0" eaLnBrk="1" fontAlgn="base" hangingPunct="1">
        <a:lnSpc>
          <a:spcPct val="100000"/>
        </a:lnSpc>
        <a:spcBef>
          <a:spcPct val="0"/>
        </a:spcBef>
        <a:spcAft>
          <a:spcPct val="0"/>
        </a:spcAft>
        <a:tabLst>
          <a:tab pos="268288" algn="l"/>
        </a:tabLst>
        <a:defRPr sz="2000" b="1">
          <a:solidFill>
            <a:schemeClr val="tx1"/>
          </a:solidFill>
          <a:latin typeface="+mj-lt"/>
          <a:ea typeface="+mj-ea"/>
          <a:cs typeface="+mj-cs"/>
        </a:defRPr>
      </a:lvl1pPr>
      <a:lvl2pPr algn="l" rtl="0" eaLnBrk="1" fontAlgn="base" hangingPunct="1">
        <a:lnSpc>
          <a:spcPct val="90000"/>
        </a:lnSpc>
        <a:spcBef>
          <a:spcPct val="0"/>
        </a:spcBef>
        <a:spcAft>
          <a:spcPct val="0"/>
        </a:spcAft>
        <a:tabLst>
          <a:tab pos="268288" algn="l"/>
        </a:tabLst>
        <a:defRPr sz="2000" b="1">
          <a:solidFill>
            <a:schemeClr val="tx1"/>
          </a:solidFill>
          <a:latin typeface="Arial" charset="0"/>
        </a:defRPr>
      </a:lvl2pPr>
      <a:lvl3pPr algn="l" rtl="0" eaLnBrk="1" fontAlgn="base" hangingPunct="1">
        <a:lnSpc>
          <a:spcPct val="90000"/>
        </a:lnSpc>
        <a:spcBef>
          <a:spcPct val="0"/>
        </a:spcBef>
        <a:spcAft>
          <a:spcPct val="0"/>
        </a:spcAft>
        <a:tabLst>
          <a:tab pos="268288" algn="l"/>
        </a:tabLst>
        <a:defRPr sz="2000" b="1">
          <a:solidFill>
            <a:schemeClr val="tx1"/>
          </a:solidFill>
          <a:latin typeface="Arial" charset="0"/>
        </a:defRPr>
      </a:lvl3pPr>
      <a:lvl4pPr algn="l" rtl="0" eaLnBrk="1" fontAlgn="base" hangingPunct="1">
        <a:lnSpc>
          <a:spcPct val="90000"/>
        </a:lnSpc>
        <a:spcBef>
          <a:spcPct val="0"/>
        </a:spcBef>
        <a:spcAft>
          <a:spcPct val="0"/>
        </a:spcAft>
        <a:tabLst>
          <a:tab pos="268288" algn="l"/>
        </a:tabLst>
        <a:defRPr sz="2000" b="1">
          <a:solidFill>
            <a:schemeClr val="tx1"/>
          </a:solidFill>
          <a:latin typeface="Arial" charset="0"/>
        </a:defRPr>
      </a:lvl4pPr>
      <a:lvl5pPr algn="l" rtl="0" eaLnBrk="1" fontAlgn="base" hangingPunct="1">
        <a:lnSpc>
          <a:spcPct val="90000"/>
        </a:lnSpc>
        <a:spcBef>
          <a:spcPct val="0"/>
        </a:spcBef>
        <a:spcAft>
          <a:spcPct val="0"/>
        </a:spcAft>
        <a:tabLst>
          <a:tab pos="268288" algn="l"/>
        </a:tabLst>
        <a:defRPr sz="2000" b="1">
          <a:solidFill>
            <a:schemeClr val="tx1"/>
          </a:solidFill>
          <a:latin typeface="Arial" charset="0"/>
        </a:defRPr>
      </a:lvl5pPr>
      <a:lvl6pPr marL="457200" algn="l" rtl="0" eaLnBrk="1" fontAlgn="base" hangingPunct="1">
        <a:lnSpc>
          <a:spcPct val="90000"/>
        </a:lnSpc>
        <a:spcBef>
          <a:spcPct val="0"/>
        </a:spcBef>
        <a:spcAft>
          <a:spcPct val="0"/>
        </a:spcAft>
        <a:tabLst>
          <a:tab pos="268288" algn="l"/>
        </a:tabLst>
        <a:defRPr sz="2000" b="1">
          <a:solidFill>
            <a:schemeClr val="tx1"/>
          </a:solidFill>
          <a:latin typeface="Arial" charset="0"/>
        </a:defRPr>
      </a:lvl6pPr>
      <a:lvl7pPr marL="914400" algn="l" rtl="0" eaLnBrk="1" fontAlgn="base" hangingPunct="1">
        <a:lnSpc>
          <a:spcPct val="90000"/>
        </a:lnSpc>
        <a:spcBef>
          <a:spcPct val="0"/>
        </a:spcBef>
        <a:spcAft>
          <a:spcPct val="0"/>
        </a:spcAft>
        <a:tabLst>
          <a:tab pos="268288" algn="l"/>
        </a:tabLst>
        <a:defRPr sz="2000" b="1">
          <a:solidFill>
            <a:schemeClr val="tx1"/>
          </a:solidFill>
          <a:latin typeface="Arial" charset="0"/>
        </a:defRPr>
      </a:lvl7pPr>
      <a:lvl8pPr marL="1371600" algn="l" rtl="0" eaLnBrk="1" fontAlgn="base" hangingPunct="1">
        <a:lnSpc>
          <a:spcPct val="90000"/>
        </a:lnSpc>
        <a:spcBef>
          <a:spcPct val="0"/>
        </a:spcBef>
        <a:spcAft>
          <a:spcPct val="0"/>
        </a:spcAft>
        <a:tabLst>
          <a:tab pos="268288" algn="l"/>
        </a:tabLst>
        <a:defRPr sz="2000" b="1">
          <a:solidFill>
            <a:schemeClr val="tx1"/>
          </a:solidFill>
          <a:latin typeface="Arial" charset="0"/>
        </a:defRPr>
      </a:lvl8pPr>
      <a:lvl9pPr marL="1828800" algn="l" rtl="0" eaLnBrk="1" fontAlgn="base" hangingPunct="1">
        <a:lnSpc>
          <a:spcPct val="90000"/>
        </a:lnSpc>
        <a:spcBef>
          <a:spcPct val="0"/>
        </a:spcBef>
        <a:spcAft>
          <a:spcPct val="0"/>
        </a:spcAft>
        <a:tabLst>
          <a:tab pos="268288" algn="l"/>
        </a:tabLst>
        <a:defRPr sz="2000" b="1">
          <a:solidFill>
            <a:schemeClr val="tx1"/>
          </a:solidFill>
          <a:latin typeface="Arial" charset="0"/>
        </a:defRPr>
      </a:lvl9pPr>
    </p:titleStyle>
    <p:bodyStyle>
      <a:lvl1pPr algn="l" rtl="0" eaLnBrk="1" fontAlgn="base" hangingPunct="1">
        <a:spcBef>
          <a:spcPts val="960"/>
        </a:spcBef>
        <a:spcAft>
          <a:spcPct val="0"/>
        </a:spcAft>
        <a:defRPr sz="1600" b="1">
          <a:solidFill>
            <a:schemeClr val="accent1"/>
          </a:solidFill>
          <a:latin typeface="+mn-lt"/>
          <a:ea typeface="+mn-ea"/>
          <a:cs typeface="+mn-cs"/>
        </a:defRPr>
      </a:lvl1pPr>
      <a:lvl2pPr marL="1588" algn="l" rtl="0" eaLnBrk="1" fontAlgn="base" hangingPunct="1">
        <a:spcBef>
          <a:spcPts val="1200"/>
        </a:spcBef>
        <a:spcAft>
          <a:spcPct val="0"/>
        </a:spcAft>
        <a:defRPr sz="1600" b="1">
          <a:solidFill>
            <a:schemeClr val="tx1"/>
          </a:solidFill>
          <a:latin typeface="+mn-lt"/>
        </a:defRPr>
      </a:lvl2pPr>
      <a:lvl3pPr marL="182563" indent="-179388"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3pPr>
      <a:lvl4pPr marL="350838" indent="-166688"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4pPr>
      <a:lvl5pPr marL="549275" indent="-196850"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5pPr>
      <a:lvl6pPr marL="1006475" indent="-196850"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6pPr>
      <a:lvl7pPr marL="1463675" indent="-196850"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7pPr>
      <a:lvl8pPr marL="1920875" indent="-196850"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8pPr>
      <a:lvl9pPr marL="2378075" indent="-196850" algn="l" rtl="0" eaLnBrk="1" fontAlgn="base" hangingPunct="1">
        <a:spcBef>
          <a:spcPct val="25000"/>
        </a:spcBef>
        <a:spcAft>
          <a:spcPct val="0"/>
        </a:spcAft>
        <a:buClr>
          <a:schemeClr val="tx2"/>
        </a:buClr>
        <a:buSzPct val="80000"/>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
            </p:custDataLst>
            <p:extLst>
              <p:ext uri="{D42A27DB-BD31-4B8C-83A1-F6EECF244321}">
                <p14:modId xmlns:p14="http://schemas.microsoft.com/office/powerpoint/2010/main" val="123415276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60" name="think-cell Folie" r:id="rId14" imgW="180" imgH="180" progId="TCLayout.ActiveDocument.1">
                  <p:embed/>
                </p:oleObj>
              </mc:Choice>
              <mc:Fallback>
                <p:oleObj name="think-cell Folie" r:id="rId14" imgW="180" imgH="180" progId="TCLayout.ActiveDocument.1">
                  <p:embed/>
                  <p:pic>
                    <p:nvPicPr>
                      <p:cNvPr id="0" name=""/>
                      <p:cNvPicPr/>
                      <p:nvPr/>
                    </p:nvPicPr>
                    <p:blipFill>
                      <a:blip r:embed="rId15"/>
                      <a:stretch>
                        <a:fillRect/>
                      </a:stretch>
                    </p:blipFill>
                    <p:spPr>
                      <a:xfrm>
                        <a:off x="1591" y="1192"/>
                        <a:ext cx="1587" cy="1190"/>
                      </a:xfrm>
                      <a:prstGeom prst="rect">
                        <a:avLst/>
                      </a:prstGeom>
                    </p:spPr>
                  </p:pic>
                </p:oleObj>
              </mc:Fallback>
            </mc:AlternateContent>
          </a:graphicData>
        </a:graphic>
      </p:graphicFrame>
      <p:pic>
        <p:nvPicPr>
          <p:cNvPr id="1026" name="Picture 2" descr="T:\ASM\16-2458-ASM PPT Company\Masterhintergründe\master4zu34.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0" y="90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7173" name="Rectangle 5"/>
          <p:cNvSpPr>
            <a:spLocks noGrp="1" noChangeArrowheads="1"/>
          </p:cNvSpPr>
          <p:nvPr>
            <p:ph type="body" idx="1"/>
          </p:nvPr>
        </p:nvSpPr>
        <p:spPr bwMode="gray">
          <a:xfrm>
            <a:off x="2470150" y="1214438"/>
            <a:ext cx="6423024" cy="357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1"/>
            <a:endParaRPr lang="en-US" dirty="0"/>
          </a:p>
        </p:txBody>
      </p:sp>
      <p:sp>
        <p:nvSpPr>
          <p:cNvPr id="7170" name="cdtDesignTags Id753827"/>
          <p:cNvSpPr>
            <a:spLocks noChangeShapeType="1"/>
          </p:cNvSpPr>
          <p:nvPr>
            <p:custDataLst>
              <p:tags r:id="rId1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1" name="cdtMasterTags"/>
          <p:cNvSpPr>
            <a:spLocks noChangeShapeType="1"/>
          </p:cNvSpPr>
          <p:nvPr>
            <p:custDataLst>
              <p:tags r:id="rId13"/>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5" name="Rectangle 7"/>
          <p:cNvSpPr>
            <a:spLocks noGrp="1" noChangeArrowheads="1"/>
          </p:cNvSpPr>
          <p:nvPr>
            <p:ph type="sldNum" sz="quarter" idx="4"/>
          </p:nvPr>
        </p:nvSpPr>
        <p:spPr bwMode="gray">
          <a:xfrm>
            <a:off x="8588479" y="4930870"/>
            <a:ext cx="363882"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53957" numCol="1" anchor="b" anchorCtr="0" compatLnSpc="1">
            <a:prstTxWarp prst="textNoShape">
              <a:avLst/>
            </a:prstTxWarp>
            <a:spAutoFit/>
          </a:bodyPr>
          <a:lstStyle>
            <a:lvl1pPr eaLnBrk="0" hangingPunct="0">
              <a:tabLst>
                <a:tab pos="3633260" algn="ctr"/>
              </a:tabLst>
              <a:defRPr sz="600" b="1">
                <a:solidFill>
                  <a:schemeClr val="tx2"/>
                </a:solidFill>
              </a:defRPr>
            </a:lvl1pPr>
          </a:lstStyle>
          <a:p>
            <a:pPr fontAlgn="base">
              <a:spcBef>
                <a:spcPct val="0"/>
              </a:spcBef>
              <a:spcAft>
                <a:spcPct val="0"/>
              </a:spcAft>
            </a:pPr>
            <a:r>
              <a:rPr lang="en-US" dirty="0" err="1">
                <a:solidFill>
                  <a:srgbClr val="97A0A5"/>
                </a:solidFill>
                <a:cs typeface="Arial" charset="0"/>
              </a:rPr>
              <a:t>Seite</a:t>
            </a:r>
            <a:r>
              <a:rPr lang="en-US" dirty="0">
                <a:solidFill>
                  <a:srgbClr val="97A0A5"/>
                </a:solidFill>
                <a:cs typeface="Arial" charset="0"/>
              </a:rPr>
              <a:t> </a:t>
            </a:r>
            <a:fld id="{FE751076-F3C9-4E4A-84C6-36C855AF0356}" type="slidenum">
              <a:rPr lang="en-US" smtClean="0">
                <a:solidFill>
                  <a:srgbClr val="97A0A5"/>
                </a:solidFill>
                <a:cs typeface="Arial" charset="0"/>
              </a:rPr>
              <a:pPr fontAlgn="base">
                <a:spcBef>
                  <a:spcPct val="0"/>
                </a:spcBef>
                <a:spcAft>
                  <a:spcPct val="0"/>
                </a:spcAft>
              </a:pPr>
              <a:t>‹Nr.›</a:t>
            </a:fld>
            <a:endParaRPr lang="en-US" dirty="0">
              <a:solidFill>
                <a:srgbClr val="97A0A5"/>
              </a:solidFill>
              <a:cs typeface="Arial" charset="0"/>
            </a:endParaRPr>
          </a:p>
        </p:txBody>
      </p:sp>
      <p:sp>
        <p:nvSpPr>
          <p:cNvPr id="7178" name="Rectangle 10"/>
          <p:cNvSpPr>
            <a:spLocks noGrp="1" noChangeArrowheads="1"/>
          </p:cNvSpPr>
          <p:nvPr>
            <p:ph type="ftr" sz="quarter" idx="3"/>
          </p:nvPr>
        </p:nvSpPr>
        <p:spPr bwMode="gray">
          <a:xfrm>
            <a:off x="2470150" y="4930870"/>
            <a:ext cx="2605901"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l" eaLnBrk="0" hangingPunct="0">
              <a:tabLst>
                <a:tab pos="3633260" algn="ctr"/>
              </a:tabLst>
              <a:defRPr sz="600" b="1">
                <a:solidFill>
                  <a:schemeClr val="tx2"/>
                </a:solidFill>
              </a:defRPr>
            </a:lvl1pPr>
          </a:lstStyle>
          <a:p>
            <a:pPr fontAlgn="base">
              <a:spcBef>
                <a:spcPct val="0"/>
              </a:spcBef>
              <a:spcAft>
                <a:spcPct val="0"/>
              </a:spcAft>
            </a:pPr>
            <a:r>
              <a:rPr lang="en-US" dirty="0">
                <a:solidFill>
                  <a:srgbClr val="97A0A5"/>
                </a:solidFill>
                <a:cs typeface="Arial" charset="0"/>
              </a:rPr>
              <a:t>ASM Assembly Systems</a:t>
            </a:r>
          </a:p>
        </p:txBody>
      </p:sp>
      <p:sp>
        <p:nvSpPr>
          <p:cNvPr id="7182" name="Rectangle 14"/>
          <p:cNvSpPr>
            <a:spLocks noGrp="1" noChangeArrowheads="1"/>
          </p:cNvSpPr>
          <p:nvPr>
            <p:ph type="dt" sz="half" idx="2"/>
          </p:nvPr>
        </p:nvSpPr>
        <p:spPr bwMode="gray">
          <a:xfrm>
            <a:off x="7537477" y="4930870"/>
            <a:ext cx="965200"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r" eaLnBrk="0" hangingPunct="0">
              <a:tabLst>
                <a:tab pos="3633260" algn="ctr"/>
              </a:tabLst>
              <a:defRPr sz="600" b="1">
                <a:solidFill>
                  <a:schemeClr val="tx2"/>
                </a:solidFill>
              </a:defRPr>
            </a:lvl1pPr>
          </a:lstStyle>
          <a:p>
            <a:pPr fontAlgn="base">
              <a:spcBef>
                <a:spcPct val="0"/>
              </a:spcBef>
              <a:spcAft>
                <a:spcPct val="0"/>
              </a:spcAft>
            </a:pPr>
            <a:fld id="{AFEE0707-92A1-428D-8B0B-8ABB8726B2A6}" type="datetime1">
              <a:rPr lang="en-US" smtClean="0">
                <a:solidFill>
                  <a:srgbClr val="97A0A5"/>
                </a:solidFill>
                <a:cs typeface="Arial" charset="0"/>
              </a:rPr>
              <a:pPr fontAlgn="base">
                <a:spcBef>
                  <a:spcPct val="0"/>
                </a:spcBef>
                <a:spcAft>
                  <a:spcPct val="0"/>
                </a:spcAft>
              </a:pPr>
              <a:t>1/26/2018</a:t>
            </a:fld>
            <a:endParaRPr lang="en-US" dirty="0">
              <a:solidFill>
                <a:srgbClr val="97A0A5"/>
              </a:solidFill>
              <a:cs typeface="Arial" charset="0"/>
            </a:endParaRPr>
          </a:p>
        </p:txBody>
      </p:sp>
      <p:grpSp>
        <p:nvGrpSpPr>
          <p:cNvPr id="4" name="Gruppieren 3"/>
          <p:cNvGrpSpPr/>
          <p:nvPr userDrawn="1"/>
        </p:nvGrpSpPr>
        <p:grpSpPr>
          <a:xfrm>
            <a:off x="2470150" y="4922730"/>
            <a:ext cx="6423024" cy="138036"/>
            <a:chOff x="2470150" y="6563640"/>
            <a:chExt cx="6423024" cy="184048"/>
          </a:xfrm>
        </p:grpSpPr>
        <p:sp>
          <p:nvSpPr>
            <p:cNvPr id="7176" name="Line 8"/>
            <p:cNvSpPr>
              <a:spLocks noChangeShapeType="1"/>
            </p:cNvSpPr>
            <p:nvPr/>
          </p:nvSpPr>
          <p:spPr bwMode="gray">
            <a:xfrm>
              <a:off x="2470150" y="656364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p:nvSpPr>
          <p:spPr bwMode="gray">
            <a:xfrm rot="5400000">
              <a:off x="8477673" y="6675688"/>
              <a:ext cx="144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grpSp>
      <p:grpSp>
        <p:nvGrpSpPr>
          <p:cNvPr id="2" name="Gruppieren 1"/>
          <p:cNvGrpSpPr/>
          <p:nvPr userDrawn="1"/>
        </p:nvGrpSpPr>
        <p:grpSpPr>
          <a:xfrm>
            <a:off x="0" y="900"/>
            <a:ext cx="9144000" cy="324000"/>
            <a:chOff x="0" y="1200"/>
            <a:chExt cx="9144000" cy="432000"/>
          </a:xfrm>
        </p:grpSpPr>
        <p:sp>
          <p:nvSpPr>
            <p:cNvPr id="12" name="Rechteck 1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3" name="Grafik 4"/>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hteck 2"/>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5" name="Rechteck 4"/>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2378099604"/>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p:txStyles>
    <p:titleStyle>
      <a:lvl1pPr algn="l" rtl="0" eaLnBrk="1" fontAlgn="base" hangingPunct="1">
        <a:lnSpc>
          <a:spcPct val="100000"/>
        </a:lnSpc>
        <a:spcBef>
          <a:spcPct val="0"/>
        </a:spcBef>
        <a:spcAft>
          <a:spcPct val="0"/>
        </a:spcAft>
        <a:tabLst>
          <a:tab pos="201055" algn="l"/>
        </a:tabLst>
        <a:defRPr sz="1300" b="0">
          <a:solidFill>
            <a:schemeClr val="bg1"/>
          </a:solidFill>
          <a:latin typeface="+mj-lt"/>
          <a:ea typeface="+mj-ea"/>
          <a:cs typeface="+mj-cs"/>
        </a:defRPr>
      </a:lvl1pPr>
      <a:lvl2pPr algn="l" rtl="0" eaLnBrk="1" fontAlgn="base" hangingPunct="1">
        <a:lnSpc>
          <a:spcPct val="90000"/>
        </a:lnSpc>
        <a:spcBef>
          <a:spcPct val="0"/>
        </a:spcBef>
        <a:spcAft>
          <a:spcPct val="0"/>
        </a:spcAft>
        <a:tabLst>
          <a:tab pos="201055" algn="l"/>
        </a:tabLst>
        <a:defRPr sz="1500" b="1">
          <a:solidFill>
            <a:schemeClr val="tx1"/>
          </a:solidFill>
          <a:latin typeface="Arial" charset="0"/>
        </a:defRPr>
      </a:lvl2pPr>
      <a:lvl3pPr algn="l" rtl="0" eaLnBrk="1" fontAlgn="base" hangingPunct="1">
        <a:lnSpc>
          <a:spcPct val="90000"/>
        </a:lnSpc>
        <a:spcBef>
          <a:spcPct val="0"/>
        </a:spcBef>
        <a:spcAft>
          <a:spcPct val="0"/>
        </a:spcAft>
        <a:tabLst>
          <a:tab pos="201055" algn="l"/>
        </a:tabLst>
        <a:defRPr sz="1500" b="1">
          <a:solidFill>
            <a:schemeClr val="tx1"/>
          </a:solidFill>
          <a:latin typeface="Arial" charset="0"/>
        </a:defRPr>
      </a:lvl3pPr>
      <a:lvl4pPr algn="l" rtl="0" eaLnBrk="1" fontAlgn="base" hangingPunct="1">
        <a:lnSpc>
          <a:spcPct val="90000"/>
        </a:lnSpc>
        <a:spcBef>
          <a:spcPct val="0"/>
        </a:spcBef>
        <a:spcAft>
          <a:spcPct val="0"/>
        </a:spcAft>
        <a:tabLst>
          <a:tab pos="201055" algn="l"/>
        </a:tabLst>
        <a:defRPr sz="1500" b="1">
          <a:solidFill>
            <a:schemeClr val="tx1"/>
          </a:solidFill>
          <a:latin typeface="Arial" charset="0"/>
        </a:defRPr>
      </a:lvl4pPr>
      <a:lvl5pPr algn="l" rtl="0" eaLnBrk="1" fontAlgn="base" hangingPunct="1">
        <a:lnSpc>
          <a:spcPct val="90000"/>
        </a:lnSpc>
        <a:spcBef>
          <a:spcPct val="0"/>
        </a:spcBef>
        <a:spcAft>
          <a:spcPct val="0"/>
        </a:spcAft>
        <a:tabLst>
          <a:tab pos="201055" algn="l"/>
        </a:tabLst>
        <a:defRPr sz="1500" b="1">
          <a:solidFill>
            <a:schemeClr val="tx1"/>
          </a:solidFill>
          <a:latin typeface="Arial" charset="0"/>
        </a:defRPr>
      </a:lvl5pPr>
      <a:lvl6pPr marL="342626" algn="l" rtl="0" eaLnBrk="1" fontAlgn="base" hangingPunct="1">
        <a:lnSpc>
          <a:spcPct val="90000"/>
        </a:lnSpc>
        <a:spcBef>
          <a:spcPct val="0"/>
        </a:spcBef>
        <a:spcAft>
          <a:spcPct val="0"/>
        </a:spcAft>
        <a:tabLst>
          <a:tab pos="201055" algn="l"/>
        </a:tabLst>
        <a:defRPr sz="1500" b="1">
          <a:solidFill>
            <a:schemeClr val="tx1"/>
          </a:solidFill>
          <a:latin typeface="Arial" charset="0"/>
        </a:defRPr>
      </a:lvl6pPr>
      <a:lvl7pPr marL="685251" algn="l" rtl="0" eaLnBrk="1" fontAlgn="base" hangingPunct="1">
        <a:lnSpc>
          <a:spcPct val="90000"/>
        </a:lnSpc>
        <a:spcBef>
          <a:spcPct val="0"/>
        </a:spcBef>
        <a:spcAft>
          <a:spcPct val="0"/>
        </a:spcAft>
        <a:tabLst>
          <a:tab pos="201055" algn="l"/>
        </a:tabLst>
        <a:defRPr sz="1500" b="1">
          <a:solidFill>
            <a:schemeClr val="tx1"/>
          </a:solidFill>
          <a:latin typeface="Arial" charset="0"/>
        </a:defRPr>
      </a:lvl7pPr>
      <a:lvl8pPr marL="1027877" algn="l" rtl="0" eaLnBrk="1" fontAlgn="base" hangingPunct="1">
        <a:lnSpc>
          <a:spcPct val="90000"/>
        </a:lnSpc>
        <a:spcBef>
          <a:spcPct val="0"/>
        </a:spcBef>
        <a:spcAft>
          <a:spcPct val="0"/>
        </a:spcAft>
        <a:tabLst>
          <a:tab pos="201055" algn="l"/>
        </a:tabLst>
        <a:defRPr sz="1500" b="1">
          <a:solidFill>
            <a:schemeClr val="tx1"/>
          </a:solidFill>
          <a:latin typeface="Arial" charset="0"/>
        </a:defRPr>
      </a:lvl8pPr>
      <a:lvl9pPr marL="1370503" algn="l" rtl="0" eaLnBrk="1" fontAlgn="base" hangingPunct="1">
        <a:lnSpc>
          <a:spcPct val="90000"/>
        </a:lnSpc>
        <a:spcBef>
          <a:spcPct val="0"/>
        </a:spcBef>
        <a:spcAft>
          <a:spcPct val="0"/>
        </a:spcAft>
        <a:tabLst>
          <a:tab pos="201055" algn="l"/>
        </a:tabLst>
        <a:defRPr sz="1500" b="1">
          <a:solidFill>
            <a:schemeClr val="tx1"/>
          </a:solidFill>
          <a:latin typeface="Arial" charset="0"/>
        </a:defRPr>
      </a:lvl9pPr>
    </p:titleStyle>
    <p:bodyStyle>
      <a:lvl1pPr algn="l" rtl="0" eaLnBrk="1" fontAlgn="base" hangingPunct="1">
        <a:spcBef>
          <a:spcPts val="719"/>
        </a:spcBef>
        <a:spcAft>
          <a:spcPct val="0"/>
        </a:spcAft>
        <a:defRPr sz="1000" b="1">
          <a:solidFill>
            <a:schemeClr val="accent1"/>
          </a:solidFill>
          <a:latin typeface="+mn-lt"/>
          <a:ea typeface="+mn-ea"/>
          <a:cs typeface="+mn-cs"/>
        </a:defRPr>
      </a:lvl1pPr>
      <a:lvl2pPr marL="1190" algn="l" rtl="0" eaLnBrk="1" fontAlgn="base" hangingPunct="1">
        <a:spcBef>
          <a:spcPts val="899"/>
        </a:spcBef>
        <a:spcAft>
          <a:spcPct val="0"/>
        </a:spcAft>
        <a:defRPr sz="1000" b="1">
          <a:solidFill>
            <a:schemeClr val="tx1"/>
          </a:solidFill>
          <a:latin typeface="+mn-lt"/>
        </a:defRPr>
      </a:lvl2pPr>
      <a:lvl3pPr marL="136813" indent="-134433"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3pPr>
      <a:lvl4pPr marL="262918" indent="-124916"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4pPr>
      <a:lvl5pPr marL="411627" indent="-147519"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5pPr>
      <a:lvl6pPr marL="754252"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6pPr>
      <a:lvl7pPr marL="1096878"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7pPr>
      <a:lvl8pPr marL="1439504"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8pPr>
      <a:lvl9pPr marL="1782129"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9pPr>
    </p:bodyStyle>
    <p:otherStyle>
      <a:defPPr>
        <a:defRPr lang="de-DE"/>
      </a:defPPr>
      <a:lvl1pPr marL="0" algn="l" defTabSz="685251" rtl="0" eaLnBrk="1" latinLnBrk="0" hangingPunct="1">
        <a:defRPr sz="1300" kern="1200">
          <a:solidFill>
            <a:schemeClr val="tx1"/>
          </a:solidFill>
          <a:latin typeface="+mn-lt"/>
          <a:ea typeface="+mn-ea"/>
          <a:cs typeface="+mn-cs"/>
        </a:defRPr>
      </a:lvl1pPr>
      <a:lvl2pPr marL="342626" algn="l" defTabSz="685251" rtl="0" eaLnBrk="1" latinLnBrk="0" hangingPunct="1">
        <a:defRPr sz="1300" kern="1200">
          <a:solidFill>
            <a:schemeClr val="tx1"/>
          </a:solidFill>
          <a:latin typeface="+mn-lt"/>
          <a:ea typeface="+mn-ea"/>
          <a:cs typeface="+mn-cs"/>
        </a:defRPr>
      </a:lvl2pPr>
      <a:lvl3pPr marL="685251" algn="l" defTabSz="685251" rtl="0" eaLnBrk="1" latinLnBrk="0" hangingPunct="1">
        <a:defRPr sz="1300" kern="1200">
          <a:solidFill>
            <a:schemeClr val="tx1"/>
          </a:solidFill>
          <a:latin typeface="+mn-lt"/>
          <a:ea typeface="+mn-ea"/>
          <a:cs typeface="+mn-cs"/>
        </a:defRPr>
      </a:lvl3pPr>
      <a:lvl4pPr marL="1027877" algn="l" defTabSz="685251" rtl="0" eaLnBrk="1" latinLnBrk="0" hangingPunct="1">
        <a:defRPr sz="1300" kern="1200">
          <a:solidFill>
            <a:schemeClr val="tx1"/>
          </a:solidFill>
          <a:latin typeface="+mn-lt"/>
          <a:ea typeface="+mn-ea"/>
          <a:cs typeface="+mn-cs"/>
        </a:defRPr>
      </a:lvl4pPr>
      <a:lvl5pPr marL="1370503" algn="l" defTabSz="685251" rtl="0" eaLnBrk="1" latinLnBrk="0" hangingPunct="1">
        <a:defRPr sz="1300" kern="1200">
          <a:solidFill>
            <a:schemeClr val="tx1"/>
          </a:solidFill>
          <a:latin typeface="+mn-lt"/>
          <a:ea typeface="+mn-ea"/>
          <a:cs typeface="+mn-cs"/>
        </a:defRPr>
      </a:lvl5pPr>
      <a:lvl6pPr marL="1713128" algn="l" defTabSz="685251" rtl="0" eaLnBrk="1" latinLnBrk="0" hangingPunct="1">
        <a:defRPr sz="1300" kern="1200">
          <a:solidFill>
            <a:schemeClr val="tx1"/>
          </a:solidFill>
          <a:latin typeface="+mn-lt"/>
          <a:ea typeface="+mn-ea"/>
          <a:cs typeface="+mn-cs"/>
        </a:defRPr>
      </a:lvl6pPr>
      <a:lvl7pPr marL="2055754" algn="l" defTabSz="685251" rtl="0" eaLnBrk="1" latinLnBrk="0" hangingPunct="1">
        <a:defRPr sz="1300" kern="1200">
          <a:solidFill>
            <a:schemeClr val="tx1"/>
          </a:solidFill>
          <a:latin typeface="+mn-lt"/>
          <a:ea typeface="+mn-ea"/>
          <a:cs typeface="+mn-cs"/>
        </a:defRPr>
      </a:lvl7pPr>
      <a:lvl8pPr marL="2398380" algn="l" defTabSz="685251" rtl="0" eaLnBrk="1" latinLnBrk="0" hangingPunct="1">
        <a:defRPr sz="1300" kern="1200">
          <a:solidFill>
            <a:schemeClr val="tx1"/>
          </a:solidFill>
          <a:latin typeface="+mn-lt"/>
          <a:ea typeface="+mn-ea"/>
          <a:cs typeface="+mn-cs"/>
        </a:defRPr>
      </a:lvl8pPr>
      <a:lvl9pPr marL="2741005" algn="l" defTabSz="685251"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
            </p:custDataLst>
            <p:extLst>
              <p:ext uri="{D42A27DB-BD31-4B8C-83A1-F6EECF244321}">
                <p14:modId xmlns:p14="http://schemas.microsoft.com/office/powerpoint/2010/main" val="686060102"/>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3106" name="think-cell Folie" r:id="rId14" imgW="180" imgH="180" progId="TCLayout.ActiveDocument.1">
                  <p:embed/>
                </p:oleObj>
              </mc:Choice>
              <mc:Fallback>
                <p:oleObj name="think-cell Folie" r:id="rId14" imgW="180" imgH="180" progId="TCLayout.ActiveDocument.1">
                  <p:embed/>
                  <p:pic>
                    <p:nvPicPr>
                      <p:cNvPr id="0" name=""/>
                      <p:cNvPicPr/>
                      <p:nvPr/>
                    </p:nvPicPr>
                    <p:blipFill>
                      <a:blip r:embed="rId15"/>
                      <a:stretch>
                        <a:fillRect/>
                      </a:stretch>
                    </p:blipFill>
                    <p:spPr>
                      <a:xfrm>
                        <a:off x="1591" y="1192"/>
                        <a:ext cx="1587" cy="1190"/>
                      </a:xfrm>
                      <a:prstGeom prst="rect">
                        <a:avLst/>
                      </a:prstGeom>
                    </p:spPr>
                  </p:pic>
                </p:oleObj>
              </mc:Fallback>
            </mc:AlternateContent>
          </a:graphicData>
        </a:graphic>
      </p:graphicFrame>
      <p:pic>
        <p:nvPicPr>
          <p:cNvPr id="1026" name="Picture 2" descr="T:\ASM\16-2458-ASM PPT Company\Masterhintergründe\master4zu34.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0" y="90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7173" name="Rectangle 5"/>
          <p:cNvSpPr>
            <a:spLocks noGrp="1" noChangeArrowheads="1"/>
          </p:cNvSpPr>
          <p:nvPr>
            <p:ph type="body" idx="1"/>
          </p:nvPr>
        </p:nvSpPr>
        <p:spPr bwMode="gray">
          <a:xfrm>
            <a:off x="2470150" y="1214438"/>
            <a:ext cx="6423024" cy="357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1"/>
            <a:endParaRPr lang="en-US" dirty="0"/>
          </a:p>
        </p:txBody>
      </p:sp>
      <p:sp>
        <p:nvSpPr>
          <p:cNvPr id="7170" name="cdtDesignTags Id753827"/>
          <p:cNvSpPr>
            <a:spLocks noChangeShapeType="1"/>
          </p:cNvSpPr>
          <p:nvPr>
            <p:custDataLst>
              <p:tags r:id="rId1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1" name="cdtMasterTags"/>
          <p:cNvSpPr>
            <a:spLocks noChangeShapeType="1"/>
          </p:cNvSpPr>
          <p:nvPr>
            <p:custDataLst>
              <p:tags r:id="rId13"/>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5" name="Rectangle 7"/>
          <p:cNvSpPr>
            <a:spLocks noGrp="1" noChangeArrowheads="1"/>
          </p:cNvSpPr>
          <p:nvPr>
            <p:ph type="sldNum" sz="quarter" idx="4"/>
          </p:nvPr>
        </p:nvSpPr>
        <p:spPr bwMode="gray">
          <a:xfrm>
            <a:off x="8588479" y="4930869"/>
            <a:ext cx="363882"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53957" numCol="1" anchor="b" anchorCtr="0" compatLnSpc="1">
            <a:prstTxWarp prst="textNoShape">
              <a:avLst/>
            </a:prstTxWarp>
            <a:spAutoFit/>
          </a:bodyPr>
          <a:lstStyle>
            <a:lvl1pPr eaLnBrk="0" hangingPunct="0">
              <a:tabLst>
                <a:tab pos="3633260" algn="ctr"/>
              </a:tabLst>
              <a:defRPr sz="600" b="1">
                <a:solidFill>
                  <a:schemeClr val="tx2"/>
                </a:solidFill>
              </a:defRPr>
            </a:lvl1pPr>
          </a:lstStyle>
          <a:p>
            <a:pPr fontAlgn="base">
              <a:spcBef>
                <a:spcPct val="0"/>
              </a:spcBef>
              <a:spcAft>
                <a:spcPct val="0"/>
              </a:spcAft>
            </a:pPr>
            <a:r>
              <a:rPr lang="en-US" dirty="0" err="1">
                <a:solidFill>
                  <a:srgbClr val="97A0A5"/>
                </a:solidFill>
                <a:cs typeface="Arial" charset="0"/>
              </a:rPr>
              <a:t>Seite</a:t>
            </a:r>
            <a:r>
              <a:rPr lang="en-US" dirty="0">
                <a:solidFill>
                  <a:srgbClr val="97A0A5"/>
                </a:solidFill>
                <a:cs typeface="Arial" charset="0"/>
              </a:rPr>
              <a:t> </a:t>
            </a:r>
            <a:fld id="{FE751076-F3C9-4E4A-84C6-36C855AF0356}" type="slidenum">
              <a:rPr lang="en-US" smtClean="0">
                <a:solidFill>
                  <a:srgbClr val="97A0A5"/>
                </a:solidFill>
                <a:cs typeface="Arial" charset="0"/>
              </a:rPr>
              <a:pPr fontAlgn="base">
                <a:spcBef>
                  <a:spcPct val="0"/>
                </a:spcBef>
                <a:spcAft>
                  <a:spcPct val="0"/>
                </a:spcAft>
              </a:pPr>
              <a:t>‹Nr.›</a:t>
            </a:fld>
            <a:endParaRPr lang="en-US" dirty="0">
              <a:solidFill>
                <a:srgbClr val="97A0A5"/>
              </a:solidFill>
              <a:cs typeface="Arial" charset="0"/>
            </a:endParaRPr>
          </a:p>
        </p:txBody>
      </p:sp>
      <p:sp>
        <p:nvSpPr>
          <p:cNvPr id="7178" name="Rectangle 10"/>
          <p:cNvSpPr>
            <a:spLocks noGrp="1" noChangeArrowheads="1"/>
          </p:cNvSpPr>
          <p:nvPr>
            <p:ph type="ftr" sz="quarter" idx="3"/>
          </p:nvPr>
        </p:nvSpPr>
        <p:spPr bwMode="gray">
          <a:xfrm>
            <a:off x="2470150" y="4930869"/>
            <a:ext cx="2605901"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l" eaLnBrk="0" hangingPunct="0">
              <a:tabLst>
                <a:tab pos="3633260" algn="ctr"/>
              </a:tabLst>
              <a:defRPr sz="600" b="1">
                <a:solidFill>
                  <a:schemeClr val="tx2"/>
                </a:solidFill>
              </a:defRPr>
            </a:lvl1pPr>
          </a:lstStyle>
          <a:p>
            <a:pPr fontAlgn="base">
              <a:spcBef>
                <a:spcPct val="0"/>
              </a:spcBef>
              <a:spcAft>
                <a:spcPct val="0"/>
              </a:spcAft>
            </a:pPr>
            <a:r>
              <a:rPr lang="en-US" dirty="0">
                <a:solidFill>
                  <a:srgbClr val="97A0A5"/>
                </a:solidFill>
                <a:cs typeface="Arial" charset="0"/>
              </a:rPr>
              <a:t>ASM Assembly Systems</a:t>
            </a:r>
          </a:p>
        </p:txBody>
      </p:sp>
      <p:sp>
        <p:nvSpPr>
          <p:cNvPr id="7182" name="Rectangle 14"/>
          <p:cNvSpPr>
            <a:spLocks noGrp="1" noChangeArrowheads="1"/>
          </p:cNvSpPr>
          <p:nvPr>
            <p:ph type="dt" sz="half" idx="2"/>
          </p:nvPr>
        </p:nvSpPr>
        <p:spPr bwMode="gray">
          <a:xfrm>
            <a:off x="7537477" y="4930869"/>
            <a:ext cx="965200"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r" eaLnBrk="0" hangingPunct="0">
              <a:tabLst>
                <a:tab pos="3633260" algn="ctr"/>
              </a:tabLst>
              <a:defRPr sz="600" b="1">
                <a:solidFill>
                  <a:schemeClr val="tx2"/>
                </a:solidFill>
              </a:defRPr>
            </a:lvl1pPr>
          </a:lstStyle>
          <a:p>
            <a:pPr fontAlgn="base">
              <a:spcBef>
                <a:spcPct val="0"/>
              </a:spcBef>
              <a:spcAft>
                <a:spcPct val="0"/>
              </a:spcAft>
            </a:pPr>
            <a:fld id="{AFEE0707-92A1-428D-8B0B-8ABB8726B2A6}" type="datetime1">
              <a:rPr lang="en-US" smtClean="0">
                <a:solidFill>
                  <a:srgbClr val="97A0A5"/>
                </a:solidFill>
                <a:cs typeface="Arial" charset="0"/>
              </a:rPr>
              <a:pPr fontAlgn="base">
                <a:spcBef>
                  <a:spcPct val="0"/>
                </a:spcBef>
                <a:spcAft>
                  <a:spcPct val="0"/>
                </a:spcAft>
              </a:pPr>
              <a:t>1/26/2018</a:t>
            </a:fld>
            <a:endParaRPr lang="en-US" dirty="0">
              <a:solidFill>
                <a:srgbClr val="97A0A5"/>
              </a:solidFill>
              <a:cs typeface="Arial" charset="0"/>
            </a:endParaRPr>
          </a:p>
        </p:txBody>
      </p:sp>
      <p:grpSp>
        <p:nvGrpSpPr>
          <p:cNvPr id="4" name="Gruppieren 3"/>
          <p:cNvGrpSpPr/>
          <p:nvPr userDrawn="1"/>
        </p:nvGrpSpPr>
        <p:grpSpPr>
          <a:xfrm>
            <a:off x="2470150" y="4922730"/>
            <a:ext cx="6423024" cy="138036"/>
            <a:chOff x="2470150" y="6563640"/>
            <a:chExt cx="6423024" cy="184048"/>
          </a:xfrm>
        </p:grpSpPr>
        <p:sp>
          <p:nvSpPr>
            <p:cNvPr id="7176" name="Line 8"/>
            <p:cNvSpPr>
              <a:spLocks noChangeShapeType="1"/>
            </p:cNvSpPr>
            <p:nvPr/>
          </p:nvSpPr>
          <p:spPr bwMode="gray">
            <a:xfrm>
              <a:off x="2470150" y="656364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p:nvSpPr>
          <p:spPr bwMode="gray">
            <a:xfrm rot="5400000">
              <a:off x="8477673" y="6675688"/>
              <a:ext cx="144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grpSp>
      <p:grpSp>
        <p:nvGrpSpPr>
          <p:cNvPr id="2" name="Gruppieren 1"/>
          <p:cNvGrpSpPr/>
          <p:nvPr userDrawn="1"/>
        </p:nvGrpSpPr>
        <p:grpSpPr>
          <a:xfrm>
            <a:off x="0" y="900"/>
            <a:ext cx="9144000" cy="324000"/>
            <a:chOff x="0" y="1200"/>
            <a:chExt cx="9144000" cy="432000"/>
          </a:xfrm>
        </p:grpSpPr>
        <p:sp>
          <p:nvSpPr>
            <p:cNvPr id="12" name="Rechteck 1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3" name="Grafik 4"/>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hteck 2"/>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5" name="Rechteck 4"/>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3552671120"/>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p:txStyles>
    <p:titleStyle>
      <a:lvl1pPr algn="l" rtl="0" eaLnBrk="1" fontAlgn="base" hangingPunct="1">
        <a:lnSpc>
          <a:spcPct val="100000"/>
        </a:lnSpc>
        <a:spcBef>
          <a:spcPct val="0"/>
        </a:spcBef>
        <a:spcAft>
          <a:spcPct val="0"/>
        </a:spcAft>
        <a:tabLst>
          <a:tab pos="201055" algn="l"/>
        </a:tabLst>
        <a:defRPr sz="1300" b="0">
          <a:solidFill>
            <a:schemeClr val="bg1"/>
          </a:solidFill>
          <a:latin typeface="+mj-lt"/>
          <a:ea typeface="+mj-ea"/>
          <a:cs typeface="+mj-cs"/>
        </a:defRPr>
      </a:lvl1pPr>
      <a:lvl2pPr algn="l" rtl="0" eaLnBrk="1" fontAlgn="base" hangingPunct="1">
        <a:lnSpc>
          <a:spcPct val="90000"/>
        </a:lnSpc>
        <a:spcBef>
          <a:spcPct val="0"/>
        </a:spcBef>
        <a:spcAft>
          <a:spcPct val="0"/>
        </a:spcAft>
        <a:tabLst>
          <a:tab pos="201055" algn="l"/>
        </a:tabLst>
        <a:defRPr sz="1500" b="1">
          <a:solidFill>
            <a:schemeClr val="tx1"/>
          </a:solidFill>
          <a:latin typeface="Arial" charset="0"/>
        </a:defRPr>
      </a:lvl2pPr>
      <a:lvl3pPr algn="l" rtl="0" eaLnBrk="1" fontAlgn="base" hangingPunct="1">
        <a:lnSpc>
          <a:spcPct val="90000"/>
        </a:lnSpc>
        <a:spcBef>
          <a:spcPct val="0"/>
        </a:spcBef>
        <a:spcAft>
          <a:spcPct val="0"/>
        </a:spcAft>
        <a:tabLst>
          <a:tab pos="201055" algn="l"/>
        </a:tabLst>
        <a:defRPr sz="1500" b="1">
          <a:solidFill>
            <a:schemeClr val="tx1"/>
          </a:solidFill>
          <a:latin typeface="Arial" charset="0"/>
        </a:defRPr>
      </a:lvl3pPr>
      <a:lvl4pPr algn="l" rtl="0" eaLnBrk="1" fontAlgn="base" hangingPunct="1">
        <a:lnSpc>
          <a:spcPct val="90000"/>
        </a:lnSpc>
        <a:spcBef>
          <a:spcPct val="0"/>
        </a:spcBef>
        <a:spcAft>
          <a:spcPct val="0"/>
        </a:spcAft>
        <a:tabLst>
          <a:tab pos="201055" algn="l"/>
        </a:tabLst>
        <a:defRPr sz="1500" b="1">
          <a:solidFill>
            <a:schemeClr val="tx1"/>
          </a:solidFill>
          <a:latin typeface="Arial" charset="0"/>
        </a:defRPr>
      </a:lvl4pPr>
      <a:lvl5pPr algn="l" rtl="0" eaLnBrk="1" fontAlgn="base" hangingPunct="1">
        <a:lnSpc>
          <a:spcPct val="90000"/>
        </a:lnSpc>
        <a:spcBef>
          <a:spcPct val="0"/>
        </a:spcBef>
        <a:spcAft>
          <a:spcPct val="0"/>
        </a:spcAft>
        <a:tabLst>
          <a:tab pos="201055" algn="l"/>
        </a:tabLst>
        <a:defRPr sz="1500" b="1">
          <a:solidFill>
            <a:schemeClr val="tx1"/>
          </a:solidFill>
          <a:latin typeface="Arial" charset="0"/>
        </a:defRPr>
      </a:lvl5pPr>
      <a:lvl6pPr marL="342626" algn="l" rtl="0" eaLnBrk="1" fontAlgn="base" hangingPunct="1">
        <a:lnSpc>
          <a:spcPct val="90000"/>
        </a:lnSpc>
        <a:spcBef>
          <a:spcPct val="0"/>
        </a:spcBef>
        <a:spcAft>
          <a:spcPct val="0"/>
        </a:spcAft>
        <a:tabLst>
          <a:tab pos="201055" algn="l"/>
        </a:tabLst>
        <a:defRPr sz="1500" b="1">
          <a:solidFill>
            <a:schemeClr val="tx1"/>
          </a:solidFill>
          <a:latin typeface="Arial" charset="0"/>
        </a:defRPr>
      </a:lvl6pPr>
      <a:lvl7pPr marL="685251" algn="l" rtl="0" eaLnBrk="1" fontAlgn="base" hangingPunct="1">
        <a:lnSpc>
          <a:spcPct val="90000"/>
        </a:lnSpc>
        <a:spcBef>
          <a:spcPct val="0"/>
        </a:spcBef>
        <a:spcAft>
          <a:spcPct val="0"/>
        </a:spcAft>
        <a:tabLst>
          <a:tab pos="201055" algn="l"/>
        </a:tabLst>
        <a:defRPr sz="1500" b="1">
          <a:solidFill>
            <a:schemeClr val="tx1"/>
          </a:solidFill>
          <a:latin typeface="Arial" charset="0"/>
        </a:defRPr>
      </a:lvl7pPr>
      <a:lvl8pPr marL="1027877" algn="l" rtl="0" eaLnBrk="1" fontAlgn="base" hangingPunct="1">
        <a:lnSpc>
          <a:spcPct val="90000"/>
        </a:lnSpc>
        <a:spcBef>
          <a:spcPct val="0"/>
        </a:spcBef>
        <a:spcAft>
          <a:spcPct val="0"/>
        </a:spcAft>
        <a:tabLst>
          <a:tab pos="201055" algn="l"/>
        </a:tabLst>
        <a:defRPr sz="1500" b="1">
          <a:solidFill>
            <a:schemeClr val="tx1"/>
          </a:solidFill>
          <a:latin typeface="Arial" charset="0"/>
        </a:defRPr>
      </a:lvl8pPr>
      <a:lvl9pPr marL="1370503" algn="l" rtl="0" eaLnBrk="1" fontAlgn="base" hangingPunct="1">
        <a:lnSpc>
          <a:spcPct val="90000"/>
        </a:lnSpc>
        <a:spcBef>
          <a:spcPct val="0"/>
        </a:spcBef>
        <a:spcAft>
          <a:spcPct val="0"/>
        </a:spcAft>
        <a:tabLst>
          <a:tab pos="201055" algn="l"/>
        </a:tabLst>
        <a:defRPr sz="1500" b="1">
          <a:solidFill>
            <a:schemeClr val="tx1"/>
          </a:solidFill>
          <a:latin typeface="Arial" charset="0"/>
        </a:defRPr>
      </a:lvl9pPr>
    </p:titleStyle>
    <p:bodyStyle>
      <a:lvl1pPr algn="l" rtl="0" eaLnBrk="1" fontAlgn="base" hangingPunct="1">
        <a:spcBef>
          <a:spcPts val="719"/>
        </a:spcBef>
        <a:spcAft>
          <a:spcPct val="0"/>
        </a:spcAft>
        <a:defRPr sz="1000" b="1">
          <a:solidFill>
            <a:schemeClr val="accent1"/>
          </a:solidFill>
          <a:latin typeface="+mn-lt"/>
          <a:ea typeface="+mn-ea"/>
          <a:cs typeface="+mn-cs"/>
        </a:defRPr>
      </a:lvl1pPr>
      <a:lvl2pPr marL="1190" algn="l" rtl="0" eaLnBrk="1" fontAlgn="base" hangingPunct="1">
        <a:spcBef>
          <a:spcPts val="899"/>
        </a:spcBef>
        <a:spcAft>
          <a:spcPct val="0"/>
        </a:spcAft>
        <a:defRPr sz="1000" b="1">
          <a:solidFill>
            <a:schemeClr val="tx1"/>
          </a:solidFill>
          <a:latin typeface="+mn-lt"/>
        </a:defRPr>
      </a:lvl2pPr>
      <a:lvl3pPr marL="136813" indent="-134433"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3pPr>
      <a:lvl4pPr marL="262918" indent="-124916"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4pPr>
      <a:lvl5pPr marL="411627" indent="-147519"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5pPr>
      <a:lvl6pPr marL="754252"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6pPr>
      <a:lvl7pPr marL="1096878"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7pPr>
      <a:lvl8pPr marL="1439504"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8pPr>
      <a:lvl9pPr marL="1782129"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9pPr>
    </p:bodyStyle>
    <p:otherStyle>
      <a:defPPr>
        <a:defRPr lang="de-DE"/>
      </a:defPPr>
      <a:lvl1pPr marL="0" algn="l" defTabSz="685251" rtl="0" eaLnBrk="1" latinLnBrk="0" hangingPunct="1">
        <a:defRPr sz="1300" kern="1200">
          <a:solidFill>
            <a:schemeClr val="tx1"/>
          </a:solidFill>
          <a:latin typeface="+mn-lt"/>
          <a:ea typeface="+mn-ea"/>
          <a:cs typeface="+mn-cs"/>
        </a:defRPr>
      </a:lvl1pPr>
      <a:lvl2pPr marL="342626" algn="l" defTabSz="685251" rtl="0" eaLnBrk="1" latinLnBrk="0" hangingPunct="1">
        <a:defRPr sz="1300" kern="1200">
          <a:solidFill>
            <a:schemeClr val="tx1"/>
          </a:solidFill>
          <a:latin typeface="+mn-lt"/>
          <a:ea typeface="+mn-ea"/>
          <a:cs typeface="+mn-cs"/>
        </a:defRPr>
      </a:lvl2pPr>
      <a:lvl3pPr marL="685251" algn="l" defTabSz="685251" rtl="0" eaLnBrk="1" latinLnBrk="0" hangingPunct="1">
        <a:defRPr sz="1300" kern="1200">
          <a:solidFill>
            <a:schemeClr val="tx1"/>
          </a:solidFill>
          <a:latin typeface="+mn-lt"/>
          <a:ea typeface="+mn-ea"/>
          <a:cs typeface="+mn-cs"/>
        </a:defRPr>
      </a:lvl3pPr>
      <a:lvl4pPr marL="1027877" algn="l" defTabSz="685251" rtl="0" eaLnBrk="1" latinLnBrk="0" hangingPunct="1">
        <a:defRPr sz="1300" kern="1200">
          <a:solidFill>
            <a:schemeClr val="tx1"/>
          </a:solidFill>
          <a:latin typeface="+mn-lt"/>
          <a:ea typeface="+mn-ea"/>
          <a:cs typeface="+mn-cs"/>
        </a:defRPr>
      </a:lvl4pPr>
      <a:lvl5pPr marL="1370503" algn="l" defTabSz="685251" rtl="0" eaLnBrk="1" latinLnBrk="0" hangingPunct="1">
        <a:defRPr sz="1300" kern="1200">
          <a:solidFill>
            <a:schemeClr val="tx1"/>
          </a:solidFill>
          <a:latin typeface="+mn-lt"/>
          <a:ea typeface="+mn-ea"/>
          <a:cs typeface="+mn-cs"/>
        </a:defRPr>
      </a:lvl5pPr>
      <a:lvl6pPr marL="1713128" algn="l" defTabSz="685251" rtl="0" eaLnBrk="1" latinLnBrk="0" hangingPunct="1">
        <a:defRPr sz="1300" kern="1200">
          <a:solidFill>
            <a:schemeClr val="tx1"/>
          </a:solidFill>
          <a:latin typeface="+mn-lt"/>
          <a:ea typeface="+mn-ea"/>
          <a:cs typeface="+mn-cs"/>
        </a:defRPr>
      </a:lvl6pPr>
      <a:lvl7pPr marL="2055754" algn="l" defTabSz="685251" rtl="0" eaLnBrk="1" latinLnBrk="0" hangingPunct="1">
        <a:defRPr sz="1300" kern="1200">
          <a:solidFill>
            <a:schemeClr val="tx1"/>
          </a:solidFill>
          <a:latin typeface="+mn-lt"/>
          <a:ea typeface="+mn-ea"/>
          <a:cs typeface="+mn-cs"/>
        </a:defRPr>
      </a:lvl7pPr>
      <a:lvl8pPr marL="2398380" algn="l" defTabSz="685251" rtl="0" eaLnBrk="1" latinLnBrk="0" hangingPunct="1">
        <a:defRPr sz="1300" kern="1200">
          <a:solidFill>
            <a:schemeClr val="tx1"/>
          </a:solidFill>
          <a:latin typeface="+mn-lt"/>
          <a:ea typeface="+mn-ea"/>
          <a:cs typeface="+mn-cs"/>
        </a:defRPr>
      </a:lvl8pPr>
      <a:lvl9pPr marL="2741005" algn="l" defTabSz="685251"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1"/>
            </p:custDataLst>
            <p:extLst>
              <p:ext uri="{D42A27DB-BD31-4B8C-83A1-F6EECF244321}">
                <p14:modId xmlns:p14="http://schemas.microsoft.com/office/powerpoint/2010/main" val="4255628434"/>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9244" name="think-cell Folie" r:id="rId14" imgW="180" imgH="180" progId="TCLayout.ActiveDocument.1">
                  <p:embed/>
                </p:oleObj>
              </mc:Choice>
              <mc:Fallback>
                <p:oleObj name="think-cell Folie" r:id="rId14" imgW="180" imgH="180" progId="TCLayout.ActiveDocument.1">
                  <p:embed/>
                  <p:pic>
                    <p:nvPicPr>
                      <p:cNvPr id="0" name=""/>
                      <p:cNvPicPr/>
                      <p:nvPr/>
                    </p:nvPicPr>
                    <p:blipFill>
                      <a:blip r:embed="rId15"/>
                      <a:stretch>
                        <a:fillRect/>
                      </a:stretch>
                    </p:blipFill>
                    <p:spPr>
                      <a:xfrm>
                        <a:off x="1591" y="1192"/>
                        <a:ext cx="1587" cy="1190"/>
                      </a:xfrm>
                      <a:prstGeom prst="rect">
                        <a:avLst/>
                      </a:prstGeom>
                    </p:spPr>
                  </p:pic>
                </p:oleObj>
              </mc:Fallback>
            </mc:AlternateContent>
          </a:graphicData>
        </a:graphic>
      </p:graphicFrame>
      <p:pic>
        <p:nvPicPr>
          <p:cNvPr id="1026" name="Picture 2" descr="T:\ASM\16-2458-ASM PPT Company\Masterhintergründe\master4zu34.pn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0" y="90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7173" name="Rectangle 5"/>
          <p:cNvSpPr>
            <a:spLocks noGrp="1" noChangeArrowheads="1"/>
          </p:cNvSpPr>
          <p:nvPr>
            <p:ph type="body" idx="1"/>
          </p:nvPr>
        </p:nvSpPr>
        <p:spPr bwMode="gray">
          <a:xfrm>
            <a:off x="2470150" y="1214438"/>
            <a:ext cx="6423024" cy="357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1"/>
            <a:endParaRPr lang="en-US" dirty="0"/>
          </a:p>
        </p:txBody>
      </p:sp>
      <p:sp>
        <p:nvSpPr>
          <p:cNvPr id="7170" name="cdtDesignTags Id753827"/>
          <p:cNvSpPr>
            <a:spLocks noChangeShapeType="1"/>
          </p:cNvSpPr>
          <p:nvPr>
            <p:custDataLst>
              <p:tags r:id="rId12"/>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1" name="cdtMasterTags"/>
          <p:cNvSpPr>
            <a:spLocks noChangeShapeType="1"/>
          </p:cNvSpPr>
          <p:nvPr>
            <p:custDataLst>
              <p:tags r:id="rId13"/>
            </p:custDataLst>
          </p:nvPr>
        </p:nvSpPr>
        <p:spPr bwMode="gray">
          <a:xfrm>
            <a:off x="0" y="0"/>
            <a:ext cx="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25" tIns="34263" rIns="68525" bIns="34263" anchor="ctr"/>
          <a:lstStyle/>
          <a:p>
            <a:pPr fontAlgn="base">
              <a:spcBef>
                <a:spcPct val="0"/>
              </a:spcBef>
              <a:spcAft>
                <a:spcPct val="0"/>
              </a:spcAft>
            </a:pPr>
            <a:endParaRPr lang="en-US" sz="1200" b="1" dirty="0">
              <a:solidFill>
                <a:srgbClr val="000000"/>
              </a:solidFill>
              <a:cs typeface="Arial" charset="0"/>
            </a:endParaRPr>
          </a:p>
        </p:txBody>
      </p:sp>
      <p:sp>
        <p:nvSpPr>
          <p:cNvPr id="7175" name="Rectangle 7"/>
          <p:cNvSpPr>
            <a:spLocks noGrp="1" noChangeArrowheads="1"/>
          </p:cNvSpPr>
          <p:nvPr>
            <p:ph type="sldNum" sz="quarter" idx="4"/>
          </p:nvPr>
        </p:nvSpPr>
        <p:spPr bwMode="gray">
          <a:xfrm>
            <a:off x="8588479" y="4930868"/>
            <a:ext cx="363882"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53957" numCol="1" anchor="b" anchorCtr="0" compatLnSpc="1">
            <a:prstTxWarp prst="textNoShape">
              <a:avLst/>
            </a:prstTxWarp>
            <a:spAutoFit/>
          </a:bodyPr>
          <a:lstStyle>
            <a:lvl1pPr eaLnBrk="0" hangingPunct="0">
              <a:tabLst>
                <a:tab pos="3633260" algn="ctr"/>
              </a:tabLst>
              <a:defRPr sz="600" b="1">
                <a:solidFill>
                  <a:schemeClr val="tx2"/>
                </a:solidFill>
              </a:defRPr>
            </a:lvl1pPr>
          </a:lstStyle>
          <a:p>
            <a:pPr fontAlgn="base">
              <a:spcBef>
                <a:spcPct val="0"/>
              </a:spcBef>
              <a:spcAft>
                <a:spcPct val="0"/>
              </a:spcAft>
            </a:pPr>
            <a:r>
              <a:rPr lang="en-US" dirty="0" err="1">
                <a:solidFill>
                  <a:srgbClr val="97A0A5"/>
                </a:solidFill>
                <a:cs typeface="Arial" charset="0"/>
              </a:rPr>
              <a:t>Seite</a:t>
            </a:r>
            <a:r>
              <a:rPr lang="en-US" dirty="0">
                <a:solidFill>
                  <a:srgbClr val="97A0A5"/>
                </a:solidFill>
                <a:cs typeface="Arial" charset="0"/>
              </a:rPr>
              <a:t> </a:t>
            </a:r>
            <a:fld id="{FE751076-F3C9-4E4A-84C6-36C855AF0356}" type="slidenum">
              <a:rPr lang="en-US" smtClean="0">
                <a:solidFill>
                  <a:srgbClr val="97A0A5"/>
                </a:solidFill>
                <a:cs typeface="Arial" charset="0"/>
              </a:rPr>
              <a:pPr fontAlgn="base">
                <a:spcBef>
                  <a:spcPct val="0"/>
                </a:spcBef>
                <a:spcAft>
                  <a:spcPct val="0"/>
                </a:spcAft>
              </a:pPr>
              <a:t>‹Nr.›</a:t>
            </a:fld>
            <a:endParaRPr lang="en-US" dirty="0">
              <a:solidFill>
                <a:srgbClr val="97A0A5"/>
              </a:solidFill>
              <a:cs typeface="Arial" charset="0"/>
            </a:endParaRPr>
          </a:p>
        </p:txBody>
      </p:sp>
      <p:sp>
        <p:nvSpPr>
          <p:cNvPr id="7178" name="Rectangle 10"/>
          <p:cNvSpPr>
            <a:spLocks noGrp="1" noChangeArrowheads="1"/>
          </p:cNvSpPr>
          <p:nvPr>
            <p:ph type="ftr" sz="quarter" idx="3"/>
          </p:nvPr>
        </p:nvSpPr>
        <p:spPr bwMode="gray">
          <a:xfrm>
            <a:off x="2470150" y="4930868"/>
            <a:ext cx="2605901"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l" eaLnBrk="0" hangingPunct="0">
              <a:tabLst>
                <a:tab pos="3633260" algn="ctr"/>
              </a:tabLst>
              <a:defRPr sz="600" b="1">
                <a:solidFill>
                  <a:schemeClr val="tx2"/>
                </a:solidFill>
              </a:defRPr>
            </a:lvl1pPr>
          </a:lstStyle>
          <a:p>
            <a:pPr fontAlgn="base">
              <a:spcBef>
                <a:spcPct val="0"/>
              </a:spcBef>
              <a:spcAft>
                <a:spcPct val="0"/>
              </a:spcAft>
            </a:pPr>
            <a:r>
              <a:rPr lang="en-US" dirty="0">
                <a:solidFill>
                  <a:srgbClr val="97A0A5"/>
                </a:solidFill>
                <a:cs typeface="Arial" charset="0"/>
              </a:rPr>
              <a:t>ASM Assembly Systems</a:t>
            </a:r>
          </a:p>
        </p:txBody>
      </p:sp>
      <p:sp>
        <p:nvSpPr>
          <p:cNvPr id="7182" name="Rectangle 14"/>
          <p:cNvSpPr>
            <a:spLocks noGrp="1" noChangeArrowheads="1"/>
          </p:cNvSpPr>
          <p:nvPr>
            <p:ph type="dt" sz="half" idx="2"/>
          </p:nvPr>
        </p:nvSpPr>
        <p:spPr bwMode="gray">
          <a:xfrm>
            <a:off x="7537477" y="4930868"/>
            <a:ext cx="965200" cy="146817"/>
          </a:xfrm>
          <a:prstGeom prst="rect">
            <a:avLst/>
          </a:prstGeom>
          <a:noFill/>
          <a:ln>
            <a:noFill/>
          </a:ln>
          <a:effectLst/>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53957" numCol="1" anchor="b" anchorCtr="0" compatLnSpc="1">
            <a:prstTxWarp prst="textNoShape">
              <a:avLst/>
            </a:prstTxWarp>
            <a:spAutoFit/>
          </a:bodyPr>
          <a:lstStyle>
            <a:lvl1pPr algn="r" eaLnBrk="0" hangingPunct="0">
              <a:tabLst>
                <a:tab pos="3633260" algn="ctr"/>
              </a:tabLst>
              <a:defRPr sz="600" b="1">
                <a:solidFill>
                  <a:schemeClr val="tx2"/>
                </a:solidFill>
              </a:defRPr>
            </a:lvl1pPr>
          </a:lstStyle>
          <a:p>
            <a:pPr fontAlgn="base">
              <a:spcBef>
                <a:spcPct val="0"/>
              </a:spcBef>
              <a:spcAft>
                <a:spcPct val="0"/>
              </a:spcAft>
            </a:pPr>
            <a:fld id="{AFEE0707-92A1-428D-8B0B-8ABB8726B2A6}" type="datetime1">
              <a:rPr lang="en-US" smtClean="0">
                <a:solidFill>
                  <a:srgbClr val="97A0A5"/>
                </a:solidFill>
                <a:cs typeface="Arial" charset="0"/>
              </a:rPr>
              <a:pPr fontAlgn="base">
                <a:spcBef>
                  <a:spcPct val="0"/>
                </a:spcBef>
                <a:spcAft>
                  <a:spcPct val="0"/>
                </a:spcAft>
              </a:pPr>
              <a:t>1/26/2018</a:t>
            </a:fld>
            <a:endParaRPr lang="en-US" dirty="0">
              <a:solidFill>
                <a:srgbClr val="97A0A5"/>
              </a:solidFill>
              <a:cs typeface="Arial" charset="0"/>
            </a:endParaRPr>
          </a:p>
        </p:txBody>
      </p:sp>
      <p:grpSp>
        <p:nvGrpSpPr>
          <p:cNvPr id="4" name="Gruppieren 3"/>
          <p:cNvGrpSpPr/>
          <p:nvPr userDrawn="1"/>
        </p:nvGrpSpPr>
        <p:grpSpPr>
          <a:xfrm>
            <a:off x="2470150" y="4922730"/>
            <a:ext cx="6423024" cy="138036"/>
            <a:chOff x="2470150" y="6563640"/>
            <a:chExt cx="6423024" cy="184048"/>
          </a:xfrm>
        </p:grpSpPr>
        <p:sp>
          <p:nvSpPr>
            <p:cNvPr id="7176" name="Line 8"/>
            <p:cNvSpPr>
              <a:spLocks noChangeShapeType="1"/>
            </p:cNvSpPr>
            <p:nvPr/>
          </p:nvSpPr>
          <p:spPr bwMode="gray">
            <a:xfrm>
              <a:off x="2470150" y="656364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w="3175">
                  <a:solidFill>
                    <a:srgbClr val="97A0A5"/>
                  </a:solidFill>
                </a:ln>
                <a:solidFill>
                  <a:srgbClr val="000000"/>
                </a:solidFill>
              </a:endParaRPr>
            </a:p>
          </p:txBody>
        </p:sp>
        <p:sp>
          <p:nvSpPr>
            <p:cNvPr id="14" name="Line 8"/>
            <p:cNvSpPr>
              <a:spLocks noChangeShapeType="1"/>
            </p:cNvSpPr>
            <p:nvPr/>
          </p:nvSpPr>
          <p:spPr bwMode="gray">
            <a:xfrm rot="5400000">
              <a:off x="8477673" y="6675688"/>
              <a:ext cx="144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pPr fontAlgn="base">
                <a:spcBef>
                  <a:spcPct val="0"/>
                </a:spcBef>
                <a:spcAft>
                  <a:spcPct val="0"/>
                </a:spcAft>
              </a:pPr>
              <a:endParaRPr lang="en-US" sz="1200" b="1" dirty="0">
                <a:ln>
                  <a:solidFill>
                    <a:srgbClr val="97A0A5"/>
                  </a:solidFill>
                </a:ln>
                <a:solidFill>
                  <a:srgbClr val="000000"/>
                </a:solidFill>
              </a:endParaRPr>
            </a:p>
          </p:txBody>
        </p:sp>
      </p:grpSp>
      <p:grpSp>
        <p:nvGrpSpPr>
          <p:cNvPr id="2" name="Gruppieren 1"/>
          <p:cNvGrpSpPr/>
          <p:nvPr userDrawn="1"/>
        </p:nvGrpSpPr>
        <p:grpSpPr>
          <a:xfrm>
            <a:off x="0" y="900"/>
            <a:ext cx="9144000" cy="324000"/>
            <a:chOff x="0" y="1200"/>
            <a:chExt cx="9144000" cy="432000"/>
          </a:xfrm>
        </p:grpSpPr>
        <p:sp>
          <p:nvSpPr>
            <p:cNvPr id="12" name="Rechteck 11"/>
            <p:cNvSpPr/>
            <p:nvPr userDrawn="1"/>
          </p:nvSpPr>
          <p:spPr bwMode="auto">
            <a:xfrm>
              <a:off x="0" y="12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en-US" sz="1600" b="1" dirty="0">
                <a:solidFill>
                  <a:srgbClr val="000000"/>
                </a:solidFill>
                <a:cs typeface="Arial" charset="0"/>
              </a:endParaRPr>
            </a:p>
          </p:txBody>
        </p:sp>
        <p:pic>
          <p:nvPicPr>
            <p:cNvPr id="13" name="Grafik 4"/>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8064000" y="55200"/>
              <a:ext cx="835313"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hteck 2"/>
          <p:cNvSpPr/>
          <p:nvPr userDrawn="1"/>
        </p:nvSpPr>
        <p:spPr bwMode="auto">
          <a:xfrm>
            <a:off x="0" y="0"/>
            <a:ext cx="9144000" cy="5143500"/>
          </a:xfrm>
          <a:prstGeom prst="rect">
            <a:avLst/>
          </a:prstGeom>
          <a:noFill/>
          <a:ln w="3175" cap="flat" cmpd="sng" algn="ctr">
            <a:solidFill>
              <a:schemeClr val="accent3"/>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
        <p:nvSpPr>
          <p:cNvPr id="5" name="Rechteck 4"/>
          <p:cNvSpPr/>
          <p:nvPr userDrawn="1"/>
        </p:nvSpPr>
        <p:spPr bwMode="auto">
          <a:xfrm>
            <a:off x="0" y="0"/>
            <a:ext cx="9144000" cy="5143500"/>
          </a:xfrm>
          <a:prstGeom prst="rect">
            <a:avLst/>
          </a:prstGeom>
          <a:noFill/>
          <a:ln w="952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endParaRPr lang="en-US" sz="1200" b="1" dirty="0">
              <a:solidFill>
                <a:srgbClr val="FFFFFF"/>
              </a:solidFill>
              <a:cs typeface="Arial" charset="0"/>
            </a:endParaRPr>
          </a:p>
        </p:txBody>
      </p:sp>
    </p:spTree>
    <p:extLst>
      <p:ext uri="{BB962C8B-B14F-4D97-AF65-F5344CB8AC3E}">
        <p14:creationId xmlns:p14="http://schemas.microsoft.com/office/powerpoint/2010/main" val="142539916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p:txStyles>
    <p:titleStyle>
      <a:lvl1pPr algn="l" rtl="0" eaLnBrk="1" fontAlgn="base" hangingPunct="1">
        <a:lnSpc>
          <a:spcPct val="100000"/>
        </a:lnSpc>
        <a:spcBef>
          <a:spcPct val="0"/>
        </a:spcBef>
        <a:spcAft>
          <a:spcPct val="0"/>
        </a:spcAft>
        <a:tabLst>
          <a:tab pos="201055" algn="l"/>
        </a:tabLst>
        <a:defRPr sz="1300" b="0">
          <a:solidFill>
            <a:schemeClr val="bg1"/>
          </a:solidFill>
          <a:latin typeface="+mj-lt"/>
          <a:ea typeface="+mj-ea"/>
          <a:cs typeface="+mj-cs"/>
        </a:defRPr>
      </a:lvl1pPr>
      <a:lvl2pPr algn="l" rtl="0" eaLnBrk="1" fontAlgn="base" hangingPunct="1">
        <a:lnSpc>
          <a:spcPct val="90000"/>
        </a:lnSpc>
        <a:spcBef>
          <a:spcPct val="0"/>
        </a:spcBef>
        <a:spcAft>
          <a:spcPct val="0"/>
        </a:spcAft>
        <a:tabLst>
          <a:tab pos="201055" algn="l"/>
        </a:tabLst>
        <a:defRPr sz="1500" b="1">
          <a:solidFill>
            <a:schemeClr val="tx1"/>
          </a:solidFill>
          <a:latin typeface="Arial" charset="0"/>
        </a:defRPr>
      </a:lvl2pPr>
      <a:lvl3pPr algn="l" rtl="0" eaLnBrk="1" fontAlgn="base" hangingPunct="1">
        <a:lnSpc>
          <a:spcPct val="90000"/>
        </a:lnSpc>
        <a:spcBef>
          <a:spcPct val="0"/>
        </a:spcBef>
        <a:spcAft>
          <a:spcPct val="0"/>
        </a:spcAft>
        <a:tabLst>
          <a:tab pos="201055" algn="l"/>
        </a:tabLst>
        <a:defRPr sz="1500" b="1">
          <a:solidFill>
            <a:schemeClr val="tx1"/>
          </a:solidFill>
          <a:latin typeface="Arial" charset="0"/>
        </a:defRPr>
      </a:lvl3pPr>
      <a:lvl4pPr algn="l" rtl="0" eaLnBrk="1" fontAlgn="base" hangingPunct="1">
        <a:lnSpc>
          <a:spcPct val="90000"/>
        </a:lnSpc>
        <a:spcBef>
          <a:spcPct val="0"/>
        </a:spcBef>
        <a:spcAft>
          <a:spcPct val="0"/>
        </a:spcAft>
        <a:tabLst>
          <a:tab pos="201055" algn="l"/>
        </a:tabLst>
        <a:defRPr sz="1500" b="1">
          <a:solidFill>
            <a:schemeClr val="tx1"/>
          </a:solidFill>
          <a:latin typeface="Arial" charset="0"/>
        </a:defRPr>
      </a:lvl4pPr>
      <a:lvl5pPr algn="l" rtl="0" eaLnBrk="1" fontAlgn="base" hangingPunct="1">
        <a:lnSpc>
          <a:spcPct val="90000"/>
        </a:lnSpc>
        <a:spcBef>
          <a:spcPct val="0"/>
        </a:spcBef>
        <a:spcAft>
          <a:spcPct val="0"/>
        </a:spcAft>
        <a:tabLst>
          <a:tab pos="201055" algn="l"/>
        </a:tabLst>
        <a:defRPr sz="1500" b="1">
          <a:solidFill>
            <a:schemeClr val="tx1"/>
          </a:solidFill>
          <a:latin typeface="Arial" charset="0"/>
        </a:defRPr>
      </a:lvl5pPr>
      <a:lvl6pPr marL="342626" algn="l" rtl="0" eaLnBrk="1" fontAlgn="base" hangingPunct="1">
        <a:lnSpc>
          <a:spcPct val="90000"/>
        </a:lnSpc>
        <a:spcBef>
          <a:spcPct val="0"/>
        </a:spcBef>
        <a:spcAft>
          <a:spcPct val="0"/>
        </a:spcAft>
        <a:tabLst>
          <a:tab pos="201055" algn="l"/>
        </a:tabLst>
        <a:defRPr sz="1500" b="1">
          <a:solidFill>
            <a:schemeClr val="tx1"/>
          </a:solidFill>
          <a:latin typeface="Arial" charset="0"/>
        </a:defRPr>
      </a:lvl6pPr>
      <a:lvl7pPr marL="685251" algn="l" rtl="0" eaLnBrk="1" fontAlgn="base" hangingPunct="1">
        <a:lnSpc>
          <a:spcPct val="90000"/>
        </a:lnSpc>
        <a:spcBef>
          <a:spcPct val="0"/>
        </a:spcBef>
        <a:spcAft>
          <a:spcPct val="0"/>
        </a:spcAft>
        <a:tabLst>
          <a:tab pos="201055" algn="l"/>
        </a:tabLst>
        <a:defRPr sz="1500" b="1">
          <a:solidFill>
            <a:schemeClr val="tx1"/>
          </a:solidFill>
          <a:latin typeface="Arial" charset="0"/>
        </a:defRPr>
      </a:lvl7pPr>
      <a:lvl8pPr marL="1027877" algn="l" rtl="0" eaLnBrk="1" fontAlgn="base" hangingPunct="1">
        <a:lnSpc>
          <a:spcPct val="90000"/>
        </a:lnSpc>
        <a:spcBef>
          <a:spcPct val="0"/>
        </a:spcBef>
        <a:spcAft>
          <a:spcPct val="0"/>
        </a:spcAft>
        <a:tabLst>
          <a:tab pos="201055" algn="l"/>
        </a:tabLst>
        <a:defRPr sz="1500" b="1">
          <a:solidFill>
            <a:schemeClr val="tx1"/>
          </a:solidFill>
          <a:latin typeface="Arial" charset="0"/>
        </a:defRPr>
      </a:lvl8pPr>
      <a:lvl9pPr marL="1370503" algn="l" rtl="0" eaLnBrk="1" fontAlgn="base" hangingPunct="1">
        <a:lnSpc>
          <a:spcPct val="90000"/>
        </a:lnSpc>
        <a:spcBef>
          <a:spcPct val="0"/>
        </a:spcBef>
        <a:spcAft>
          <a:spcPct val="0"/>
        </a:spcAft>
        <a:tabLst>
          <a:tab pos="201055" algn="l"/>
        </a:tabLst>
        <a:defRPr sz="1500" b="1">
          <a:solidFill>
            <a:schemeClr val="tx1"/>
          </a:solidFill>
          <a:latin typeface="Arial" charset="0"/>
        </a:defRPr>
      </a:lvl9pPr>
    </p:titleStyle>
    <p:bodyStyle>
      <a:lvl1pPr algn="l" rtl="0" eaLnBrk="1" fontAlgn="base" hangingPunct="1">
        <a:spcBef>
          <a:spcPts val="719"/>
        </a:spcBef>
        <a:spcAft>
          <a:spcPct val="0"/>
        </a:spcAft>
        <a:defRPr sz="1000" b="1">
          <a:solidFill>
            <a:schemeClr val="accent1"/>
          </a:solidFill>
          <a:latin typeface="+mn-lt"/>
          <a:ea typeface="+mn-ea"/>
          <a:cs typeface="+mn-cs"/>
        </a:defRPr>
      </a:lvl1pPr>
      <a:lvl2pPr marL="1190" algn="l" rtl="0" eaLnBrk="1" fontAlgn="base" hangingPunct="1">
        <a:spcBef>
          <a:spcPts val="899"/>
        </a:spcBef>
        <a:spcAft>
          <a:spcPct val="0"/>
        </a:spcAft>
        <a:defRPr sz="1000" b="1">
          <a:solidFill>
            <a:schemeClr val="tx1"/>
          </a:solidFill>
          <a:latin typeface="+mn-lt"/>
        </a:defRPr>
      </a:lvl2pPr>
      <a:lvl3pPr marL="136813" indent="-134433"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3pPr>
      <a:lvl4pPr marL="262918" indent="-124916"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4pPr>
      <a:lvl5pPr marL="411627" indent="-147519" algn="l" rtl="0" eaLnBrk="1" fontAlgn="base" hangingPunct="1">
        <a:spcBef>
          <a:spcPct val="25000"/>
        </a:spcBef>
        <a:spcAft>
          <a:spcPct val="0"/>
        </a:spcAft>
        <a:buClr>
          <a:schemeClr val="tx2"/>
        </a:buClr>
        <a:buSzPct val="80000"/>
        <a:buFont typeface="Wingdings" pitchFamily="2" charset="2"/>
        <a:buChar char="§"/>
        <a:defRPr sz="1000">
          <a:solidFill>
            <a:schemeClr val="tx1"/>
          </a:solidFill>
          <a:latin typeface="+mn-lt"/>
        </a:defRPr>
      </a:lvl5pPr>
      <a:lvl6pPr marL="754252"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6pPr>
      <a:lvl7pPr marL="1096878"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7pPr>
      <a:lvl8pPr marL="1439504"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8pPr>
      <a:lvl9pPr marL="1782129" indent="-147519" algn="l" rtl="0" eaLnBrk="1" fontAlgn="base" hangingPunct="1">
        <a:spcBef>
          <a:spcPct val="25000"/>
        </a:spcBef>
        <a:spcAft>
          <a:spcPct val="0"/>
        </a:spcAft>
        <a:buClr>
          <a:schemeClr val="tx2"/>
        </a:buClr>
        <a:buSzPct val="80000"/>
        <a:buFont typeface="Wingdings" pitchFamily="2" charset="2"/>
        <a:buChar char="§"/>
        <a:defRPr sz="1200">
          <a:solidFill>
            <a:schemeClr val="tx1"/>
          </a:solidFill>
          <a:latin typeface="+mn-lt"/>
        </a:defRPr>
      </a:lvl9pPr>
    </p:bodyStyle>
    <p:otherStyle>
      <a:defPPr>
        <a:defRPr lang="de-DE"/>
      </a:defPPr>
      <a:lvl1pPr marL="0" algn="l" defTabSz="685251" rtl="0" eaLnBrk="1" latinLnBrk="0" hangingPunct="1">
        <a:defRPr sz="1300" kern="1200">
          <a:solidFill>
            <a:schemeClr val="tx1"/>
          </a:solidFill>
          <a:latin typeface="+mn-lt"/>
          <a:ea typeface="+mn-ea"/>
          <a:cs typeface="+mn-cs"/>
        </a:defRPr>
      </a:lvl1pPr>
      <a:lvl2pPr marL="342626" algn="l" defTabSz="685251" rtl="0" eaLnBrk="1" latinLnBrk="0" hangingPunct="1">
        <a:defRPr sz="1300" kern="1200">
          <a:solidFill>
            <a:schemeClr val="tx1"/>
          </a:solidFill>
          <a:latin typeface="+mn-lt"/>
          <a:ea typeface="+mn-ea"/>
          <a:cs typeface="+mn-cs"/>
        </a:defRPr>
      </a:lvl2pPr>
      <a:lvl3pPr marL="685251" algn="l" defTabSz="685251" rtl="0" eaLnBrk="1" latinLnBrk="0" hangingPunct="1">
        <a:defRPr sz="1300" kern="1200">
          <a:solidFill>
            <a:schemeClr val="tx1"/>
          </a:solidFill>
          <a:latin typeface="+mn-lt"/>
          <a:ea typeface="+mn-ea"/>
          <a:cs typeface="+mn-cs"/>
        </a:defRPr>
      </a:lvl3pPr>
      <a:lvl4pPr marL="1027877" algn="l" defTabSz="685251" rtl="0" eaLnBrk="1" latinLnBrk="0" hangingPunct="1">
        <a:defRPr sz="1300" kern="1200">
          <a:solidFill>
            <a:schemeClr val="tx1"/>
          </a:solidFill>
          <a:latin typeface="+mn-lt"/>
          <a:ea typeface="+mn-ea"/>
          <a:cs typeface="+mn-cs"/>
        </a:defRPr>
      </a:lvl4pPr>
      <a:lvl5pPr marL="1370503" algn="l" defTabSz="685251" rtl="0" eaLnBrk="1" latinLnBrk="0" hangingPunct="1">
        <a:defRPr sz="1300" kern="1200">
          <a:solidFill>
            <a:schemeClr val="tx1"/>
          </a:solidFill>
          <a:latin typeface="+mn-lt"/>
          <a:ea typeface="+mn-ea"/>
          <a:cs typeface="+mn-cs"/>
        </a:defRPr>
      </a:lvl5pPr>
      <a:lvl6pPr marL="1713128" algn="l" defTabSz="685251" rtl="0" eaLnBrk="1" latinLnBrk="0" hangingPunct="1">
        <a:defRPr sz="1300" kern="1200">
          <a:solidFill>
            <a:schemeClr val="tx1"/>
          </a:solidFill>
          <a:latin typeface="+mn-lt"/>
          <a:ea typeface="+mn-ea"/>
          <a:cs typeface="+mn-cs"/>
        </a:defRPr>
      </a:lvl6pPr>
      <a:lvl7pPr marL="2055754" algn="l" defTabSz="685251" rtl="0" eaLnBrk="1" latinLnBrk="0" hangingPunct="1">
        <a:defRPr sz="1300" kern="1200">
          <a:solidFill>
            <a:schemeClr val="tx1"/>
          </a:solidFill>
          <a:latin typeface="+mn-lt"/>
          <a:ea typeface="+mn-ea"/>
          <a:cs typeface="+mn-cs"/>
        </a:defRPr>
      </a:lvl7pPr>
      <a:lvl8pPr marL="2398380" algn="l" defTabSz="685251" rtl="0" eaLnBrk="1" latinLnBrk="0" hangingPunct="1">
        <a:defRPr sz="1300" kern="1200">
          <a:solidFill>
            <a:schemeClr val="tx1"/>
          </a:solidFill>
          <a:latin typeface="+mn-lt"/>
          <a:ea typeface="+mn-ea"/>
          <a:cs typeface="+mn-cs"/>
        </a:defRPr>
      </a:lvl8pPr>
      <a:lvl9pPr marL="2741005" algn="l" defTabSz="685251"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3" descr="T:\ASM\16-2509-ASM PPT Master_klein\Hintergrund_bearbeitet.png"/>
          <p:cNvPicPr>
            <a:picLocks noChangeAspect="1" noChangeArrowheads="1"/>
          </p:cNvPicPr>
          <p:nvPr/>
        </p:nvPicPr>
        <p:blipFill rotWithShape="1">
          <a:blip r:embed="rId49" cstate="screen">
            <a:duotone>
              <a:schemeClr val="bg2">
                <a:shade val="45000"/>
                <a:satMod val="135000"/>
              </a:schemeClr>
              <a:prstClr val="white"/>
            </a:duotone>
            <a:extLst>
              <a:ext uri="{28A0092B-C50C-407E-A947-70E740481C1C}">
                <a14:useLocalDpi xmlns:a14="http://schemas.microsoft.com/office/drawing/2010/main"/>
              </a:ext>
            </a:extLst>
          </a:blip>
          <a:srcRect r="6109"/>
          <a:stretch/>
        </p:blipFill>
        <p:spPr bwMode="auto">
          <a:xfrm>
            <a:off x="0" y="432000"/>
            <a:ext cx="2332653" cy="4712393"/>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10"/>
          <p:cNvSpPr>
            <a:spLocks noChangeAspect="1"/>
          </p:cNvSpPr>
          <p:nvPr userDrawn="1"/>
        </p:nvSpPr>
        <p:spPr>
          <a:xfrm>
            <a:off x="1367644" y="431999"/>
            <a:ext cx="1014905" cy="4712400"/>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412" h="4710113">
                <a:moveTo>
                  <a:pt x="100012" y="0"/>
                </a:moveTo>
                <a:lnTo>
                  <a:pt x="885825" y="0"/>
                </a:lnTo>
                <a:lnTo>
                  <a:pt x="1014412" y="0"/>
                </a:lnTo>
                <a:lnTo>
                  <a:pt x="1014412" y="4710113"/>
                </a:lnTo>
                <a:lnTo>
                  <a:pt x="0" y="4710113"/>
                </a:lnTo>
                <a:lnTo>
                  <a:pt x="952500" y="2776538"/>
                </a:lnTo>
                <a:lnTo>
                  <a:pt x="100012"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umsplatzhalter 3"/>
          <p:cNvSpPr>
            <a:spLocks noGrp="1"/>
          </p:cNvSpPr>
          <p:nvPr>
            <p:ph type="dt" sz="half" idx="2"/>
          </p:nvPr>
        </p:nvSpPr>
        <p:spPr>
          <a:xfrm>
            <a:off x="7538400" y="4964400"/>
            <a:ext cx="964800" cy="147600"/>
          </a:xfrm>
          <a:prstGeom prst="rect">
            <a:avLst/>
          </a:prstGeom>
        </p:spPr>
        <p:txBody>
          <a:bodyPr vert="horz" lIns="0" tIns="0" rIns="0" bIns="54000" rtlCol="0" anchor="b" anchorCtr="0"/>
          <a:lstStyle>
            <a:lvl1pPr algn="r">
              <a:defRPr sz="600" b="1">
                <a:solidFill>
                  <a:schemeClr val="tx1">
                    <a:tint val="75000"/>
                  </a:schemeClr>
                </a:solidFill>
              </a:defRPr>
            </a:lvl1pPr>
          </a:lstStyle>
          <a:p>
            <a:fld id="{5A40B5AC-FAA5-4F30-9759-9515366F20B9}" type="datetime1">
              <a:rPr lang="en-US" smtClean="0">
                <a:solidFill>
                  <a:srgbClr val="000000">
                    <a:tint val="75000"/>
                  </a:srgbClr>
                </a:solidFill>
              </a:rPr>
              <a:pPr/>
              <a:t>1/26/2018</a:t>
            </a:fld>
            <a:endParaRPr lang="en-US" dirty="0">
              <a:solidFill>
                <a:srgbClr val="000000">
                  <a:tint val="75000"/>
                </a:srgbClr>
              </a:solidFill>
            </a:endParaRPr>
          </a:p>
        </p:txBody>
      </p:sp>
      <p:sp>
        <p:nvSpPr>
          <p:cNvPr id="5" name="Fußzeilenplatzhalter 4"/>
          <p:cNvSpPr>
            <a:spLocks noGrp="1"/>
          </p:cNvSpPr>
          <p:nvPr>
            <p:ph type="ftr" sz="quarter" idx="3"/>
          </p:nvPr>
        </p:nvSpPr>
        <p:spPr>
          <a:xfrm>
            <a:off x="2469600" y="4964400"/>
            <a:ext cx="1224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de-DE">
                <a:solidFill>
                  <a:srgbClr val="000000">
                    <a:tint val="75000"/>
                  </a:srgbClr>
                </a:solidFill>
              </a:rPr>
              <a:t>ASM Assembly Systems</a:t>
            </a:r>
            <a:endParaRPr lang="en-US" dirty="0">
              <a:solidFill>
                <a:srgbClr val="000000">
                  <a:tint val="75000"/>
                </a:srgbClr>
              </a:solidFill>
            </a:endParaRPr>
          </a:p>
        </p:txBody>
      </p:sp>
      <p:sp>
        <p:nvSpPr>
          <p:cNvPr id="6" name="Foliennummernplatzhalter 5"/>
          <p:cNvSpPr>
            <a:spLocks noGrp="1"/>
          </p:cNvSpPr>
          <p:nvPr>
            <p:ph type="sldNum" sz="quarter" idx="4"/>
          </p:nvPr>
        </p:nvSpPr>
        <p:spPr>
          <a:xfrm>
            <a:off x="8589600" y="4964400"/>
            <a:ext cx="468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8" name="Gruppieren 7"/>
          <p:cNvGrpSpPr/>
          <p:nvPr userDrawn="1"/>
        </p:nvGrpSpPr>
        <p:grpSpPr>
          <a:xfrm>
            <a:off x="0" y="900"/>
            <a:ext cx="9144000" cy="5059866"/>
            <a:chOff x="0" y="900"/>
            <a:chExt cx="9144000" cy="5059866"/>
          </a:xfrm>
        </p:grpSpPr>
        <p:sp>
          <p:nvSpPr>
            <p:cNvPr id="19" name="Rechteck 18"/>
            <p:cNvSpPr/>
            <p:nvPr/>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0" name="Grafik 4"/>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6"/>
            <p:cNvGrpSpPr/>
            <p:nvPr/>
          </p:nvGrpSpPr>
          <p:grpSpPr>
            <a:xfrm>
              <a:off x="2470150" y="4922730"/>
              <a:ext cx="6423024" cy="138036"/>
              <a:chOff x="2470150" y="4922730"/>
              <a:chExt cx="6423024" cy="138036"/>
            </a:xfrm>
          </p:grpSpPr>
          <p:sp>
            <p:nvSpPr>
              <p:cNvPr id="14"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5"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grpSp>
      <p:sp>
        <p:nvSpPr>
          <p:cNvPr id="2" name="Titelplatzhalter 1"/>
          <p:cNvSpPr>
            <a:spLocks noGrp="1"/>
          </p:cNvSpPr>
          <p:nvPr>
            <p:ph type="title"/>
          </p:nvPr>
        </p:nvSpPr>
        <p:spPr>
          <a:xfrm>
            <a:off x="0" y="432000"/>
            <a:ext cx="9144000" cy="936000"/>
          </a:xfrm>
          <a:prstGeom prst="rect">
            <a:avLst/>
          </a:prstGeom>
        </p:spPr>
        <p:txBody>
          <a:bodyPr vert="horz" lIns="32400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323850" y="1563689"/>
            <a:ext cx="8569324" cy="3240086"/>
          </a:xfrm>
          <a:prstGeom prst="rect">
            <a:avLst/>
          </a:prstGeom>
        </p:spPr>
        <p:txBody>
          <a:bodyPr vert="horz" lIns="0" tIns="0" rIns="0" bIns="0" rtlCol="0">
            <a:normAutofit/>
          </a:bodyPr>
          <a:lstStyle/>
          <a:p>
            <a:pPr lvl="0"/>
            <a:r>
              <a:rPr lang="en-US" noProof="0" dirty="0" err="1"/>
              <a:t>Textmasterformat</a:t>
            </a:r>
            <a:r>
              <a:rPr lang="de-DE" dirty="0"/>
              <a:t> bearbeiten</a:t>
            </a:r>
          </a:p>
          <a:p>
            <a:pPr lvl="1"/>
            <a:r>
              <a:rPr lang="de-DE"/>
              <a:t>Zweite </a:t>
            </a:r>
            <a:r>
              <a:rPr lang="en-US" noProof="0" dirty="0" err="1"/>
              <a:t>Ebene</a:t>
            </a:r>
            <a:endParaRPr lang="en-US" noProof="0" dirty="0"/>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151931926"/>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 id="2147483815" r:id="rId36"/>
    <p:sldLayoutId id="2147483816" r:id="rId37"/>
    <p:sldLayoutId id="2147483817" r:id="rId38"/>
    <p:sldLayoutId id="2147483818" r:id="rId39"/>
    <p:sldLayoutId id="2147483819" r:id="rId40"/>
    <p:sldLayoutId id="2147483820" r:id="rId41"/>
    <p:sldLayoutId id="2147483821" r:id="rId42"/>
    <p:sldLayoutId id="2147483822" r:id="rId43"/>
    <p:sldLayoutId id="2147483823" r:id="rId44"/>
    <p:sldLayoutId id="2147483824" r:id="rId45"/>
    <p:sldLayoutId id="2147483825" r:id="rId46"/>
    <p:sldLayoutId id="2147483826" r:id="rId47"/>
  </p:sldLayoutIdLst>
  <p:hf hdr="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spcBef>
          <a:spcPts val="1800"/>
        </a:spcBef>
        <a:spcAft>
          <a:spcPts val="450"/>
        </a:spcAft>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450"/>
        </a:spcBef>
        <a:buFont typeface="+mj-lt"/>
        <a:buNone/>
        <a:defRPr sz="1200" b="1" kern="1200">
          <a:solidFill>
            <a:schemeClr val="tx1"/>
          </a:solidFill>
          <a:latin typeface="+mn-lt"/>
          <a:ea typeface="+mn-ea"/>
          <a:cs typeface="+mn-cs"/>
        </a:defRPr>
      </a:lvl2pPr>
      <a:lvl3pPr marL="1368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3pPr>
      <a:lvl4pPr marL="273600" indent="-136800" algn="l" defTabSz="914400" rtl="0" eaLnBrk="1" latinLnBrk="0" hangingPunct="1">
        <a:spcBef>
          <a:spcPts val="360"/>
        </a:spcBef>
        <a:buClr>
          <a:schemeClr val="accent2"/>
        </a:buClr>
        <a:buSzPct val="80000"/>
        <a:buFont typeface="Wingdings" panose="05000000000000000000" pitchFamily="2" charset="2"/>
        <a:buChar char="§"/>
        <a:tabLst/>
        <a:defRPr sz="1200" kern="1200">
          <a:solidFill>
            <a:schemeClr val="tx1"/>
          </a:solidFill>
          <a:latin typeface="+mn-lt"/>
          <a:ea typeface="+mn-ea"/>
          <a:cs typeface="+mn-cs"/>
        </a:defRPr>
      </a:lvl4pPr>
      <a:lvl5pPr marL="4104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3" descr="T:\ASM\16-2509-ASM PPT Master_klein\Hintergrund_bearbeitet.png"/>
          <p:cNvPicPr>
            <a:picLocks noChangeAspect="1" noChangeArrowheads="1"/>
          </p:cNvPicPr>
          <p:nvPr/>
        </p:nvPicPr>
        <p:blipFill rotWithShape="1">
          <a:blip r:embed="rId48" cstate="screen">
            <a:duotone>
              <a:schemeClr val="bg2">
                <a:shade val="45000"/>
                <a:satMod val="135000"/>
              </a:schemeClr>
              <a:prstClr val="white"/>
            </a:duotone>
            <a:extLst>
              <a:ext uri="{28A0092B-C50C-407E-A947-70E740481C1C}">
                <a14:useLocalDpi xmlns:a14="http://schemas.microsoft.com/office/drawing/2010/main"/>
              </a:ext>
            </a:extLst>
          </a:blip>
          <a:srcRect r="6109"/>
          <a:stretch/>
        </p:blipFill>
        <p:spPr bwMode="auto">
          <a:xfrm>
            <a:off x="0" y="432000"/>
            <a:ext cx="2332653" cy="4712393"/>
          </a:xfrm>
          <a:prstGeom prst="rect">
            <a:avLst/>
          </a:prstGeom>
          <a:noFill/>
          <a:extLst>
            <a:ext uri="{909E8E84-426E-40DD-AFC4-6F175D3DCCD1}">
              <a14:hiddenFill xmlns:a14="http://schemas.microsoft.com/office/drawing/2010/main">
                <a:solidFill>
                  <a:srgbClr val="FFFFFF"/>
                </a:solidFill>
              </a14:hiddenFill>
            </a:ext>
          </a:extLst>
        </p:spPr>
      </p:pic>
      <p:sp>
        <p:nvSpPr>
          <p:cNvPr id="11" name="Freihandform 10"/>
          <p:cNvSpPr>
            <a:spLocks noChangeAspect="1"/>
          </p:cNvSpPr>
          <p:nvPr userDrawn="1"/>
        </p:nvSpPr>
        <p:spPr>
          <a:xfrm>
            <a:off x="1367644" y="431999"/>
            <a:ext cx="1014905" cy="4712400"/>
          </a:xfrm>
          <a:custGeom>
            <a:avLst/>
            <a:gdLst>
              <a:gd name="connsiteX0" fmla="*/ 100012 w 1014412"/>
              <a:gd name="connsiteY0" fmla="*/ 0 h 4710113"/>
              <a:gd name="connsiteX1" fmla="*/ 885825 w 1014412"/>
              <a:gd name="connsiteY1" fmla="*/ 0 h 4710113"/>
              <a:gd name="connsiteX2" fmla="*/ 1014412 w 1014412"/>
              <a:gd name="connsiteY2" fmla="*/ 0 h 4710113"/>
              <a:gd name="connsiteX3" fmla="*/ 1014412 w 1014412"/>
              <a:gd name="connsiteY3" fmla="*/ 4710113 h 4710113"/>
              <a:gd name="connsiteX4" fmla="*/ 0 w 1014412"/>
              <a:gd name="connsiteY4" fmla="*/ 4710113 h 4710113"/>
              <a:gd name="connsiteX5" fmla="*/ 952500 w 1014412"/>
              <a:gd name="connsiteY5" fmla="*/ 2776538 h 4710113"/>
              <a:gd name="connsiteX6" fmla="*/ 100012 w 1014412"/>
              <a:gd name="connsiteY6" fmla="*/ 0 h 471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412" h="4710113">
                <a:moveTo>
                  <a:pt x="100012" y="0"/>
                </a:moveTo>
                <a:lnTo>
                  <a:pt x="885825" y="0"/>
                </a:lnTo>
                <a:lnTo>
                  <a:pt x="1014412" y="0"/>
                </a:lnTo>
                <a:lnTo>
                  <a:pt x="1014412" y="4710113"/>
                </a:lnTo>
                <a:lnTo>
                  <a:pt x="0" y="4710113"/>
                </a:lnTo>
                <a:lnTo>
                  <a:pt x="952500" y="2776538"/>
                </a:lnTo>
                <a:lnTo>
                  <a:pt x="100012"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Datumsplatzhalter 3"/>
          <p:cNvSpPr>
            <a:spLocks noGrp="1"/>
          </p:cNvSpPr>
          <p:nvPr>
            <p:ph type="dt" sz="half" idx="2"/>
          </p:nvPr>
        </p:nvSpPr>
        <p:spPr>
          <a:xfrm>
            <a:off x="7538400" y="4964400"/>
            <a:ext cx="964800" cy="147600"/>
          </a:xfrm>
          <a:prstGeom prst="rect">
            <a:avLst/>
          </a:prstGeom>
        </p:spPr>
        <p:txBody>
          <a:bodyPr vert="horz" lIns="0" tIns="0" rIns="0" bIns="54000" rtlCol="0" anchor="b" anchorCtr="0"/>
          <a:lstStyle>
            <a:lvl1pPr algn="r">
              <a:defRPr sz="600" b="1">
                <a:solidFill>
                  <a:schemeClr val="tx1">
                    <a:tint val="75000"/>
                  </a:schemeClr>
                </a:solidFill>
              </a:defRPr>
            </a:lvl1pPr>
          </a:lstStyle>
          <a:p>
            <a:fld id="{5A40B5AC-FAA5-4F30-9759-9515366F20B9}" type="datetime1">
              <a:rPr lang="en-US" smtClean="0">
                <a:solidFill>
                  <a:srgbClr val="000000">
                    <a:tint val="75000"/>
                  </a:srgbClr>
                </a:solidFill>
              </a:rPr>
              <a:pPr/>
              <a:t>1/26/2018</a:t>
            </a:fld>
            <a:endParaRPr lang="en-US" dirty="0">
              <a:solidFill>
                <a:srgbClr val="000000">
                  <a:tint val="75000"/>
                </a:srgbClr>
              </a:solidFill>
            </a:endParaRPr>
          </a:p>
        </p:txBody>
      </p:sp>
      <p:sp>
        <p:nvSpPr>
          <p:cNvPr id="5" name="Fußzeilenplatzhalter 4"/>
          <p:cNvSpPr>
            <a:spLocks noGrp="1"/>
          </p:cNvSpPr>
          <p:nvPr>
            <p:ph type="ftr" sz="quarter" idx="3"/>
          </p:nvPr>
        </p:nvSpPr>
        <p:spPr>
          <a:xfrm>
            <a:off x="2469600" y="4964400"/>
            <a:ext cx="1224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de-DE">
                <a:solidFill>
                  <a:srgbClr val="000000">
                    <a:tint val="75000"/>
                  </a:srgbClr>
                </a:solidFill>
              </a:rPr>
              <a:t>ASM Assembly Systems</a:t>
            </a:r>
            <a:endParaRPr lang="en-US" dirty="0">
              <a:solidFill>
                <a:srgbClr val="000000">
                  <a:tint val="75000"/>
                </a:srgbClr>
              </a:solidFill>
            </a:endParaRPr>
          </a:p>
        </p:txBody>
      </p:sp>
      <p:sp>
        <p:nvSpPr>
          <p:cNvPr id="6" name="Foliennummernplatzhalter 5"/>
          <p:cNvSpPr>
            <a:spLocks noGrp="1"/>
          </p:cNvSpPr>
          <p:nvPr>
            <p:ph type="sldNum" sz="quarter" idx="4"/>
          </p:nvPr>
        </p:nvSpPr>
        <p:spPr>
          <a:xfrm>
            <a:off x="8589600" y="4964400"/>
            <a:ext cx="468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en-US" dirty="0">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grpSp>
        <p:nvGrpSpPr>
          <p:cNvPr id="8" name="Gruppieren 7"/>
          <p:cNvGrpSpPr/>
          <p:nvPr userDrawn="1"/>
        </p:nvGrpSpPr>
        <p:grpSpPr>
          <a:xfrm>
            <a:off x="0" y="900"/>
            <a:ext cx="9144000" cy="5059866"/>
            <a:chOff x="0" y="900"/>
            <a:chExt cx="9144000" cy="5059866"/>
          </a:xfrm>
        </p:grpSpPr>
        <p:sp>
          <p:nvSpPr>
            <p:cNvPr id="19" name="Rechteck 18"/>
            <p:cNvSpPr/>
            <p:nvPr/>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0" name="Grafik 4"/>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6"/>
            <p:cNvGrpSpPr/>
            <p:nvPr/>
          </p:nvGrpSpPr>
          <p:grpSpPr>
            <a:xfrm>
              <a:off x="2470150" y="4922730"/>
              <a:ext cx="6423024" cy="138036"/>
              <a:chOff x="2470150" y="4922730"/>
              <a:chExt cx="6423024" cy="138036"/>
            </a:xfrm>
          </p:grpSpPr>
          <p:sp>
            <p:nvSpPr>
              <p:cNvPr id="14"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5"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grpSp>
      </p:grpSp>
      <p:sp>
        <p:nvSpPr>
          <p:cNvPr id="2" name="Titelplatzhalter 1"/>
          <p:cNvSpPr>
            <a:spLocks noGrp="1"/>
          </p:cNvSpPr>
          <p:nvPr>
            <p:ph type="title"/>
          </p:nvPr>
        </p:nvSpPr>
        <p:spPr>
          <a:xfrm>
            <a:off x="0" y="432000"/>
            <a:ext cx="9144000" cy="936000"/>
          </a:xfrm>
          <a:prstGeom prst="rect">
            <a:avLst/>
          </a:prstGeom>
        </p:spPr>
        <p:txBody>
          <a:bodyPr vert="horz" lIns="32400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323850" y="1563689"/>
            <a:ext cx="8569324" cy="3240086"/>
          </a:xfrm>
          <a:prstGeom prst="rect">
            <a:avLst/>
          </a:prstGeom>
        </p:spPr>
        <p:txBody>
          <a:bodyPr vert="horz" lIns="0" tIns="0" rIns="0" bIns="0" rtlCol="0">
            <a:normAutofit/>
          </a:bodyPr>
          <a:lstStyle/>
          <a:p>
            <a:pPr lvl="0"/>
            <a:r>
              <a:rPr lang="en-US" noProof="0" dirty="0" err="1"/>
              <a:t>Textmasterformat</a:t>
            </a:r>
            <a:r>
              <a:rPr lang="de-DE" dirty="0"/>
              <a:t> bearbeiten</a:t>
            </a:r>
          </a:p>
          <a:p>
            <a:pPr lvl="1"/>
            <a:r>
              <a:rPr lang="de-DE"/>
              <a:t>Zweite </a:t>
            </a:r>
            <a:r>
              <a:rPr lang="en-US" noProof="0" dirty="0" err="1"/>
              <a:t>Ebene</a:t>
            </a:r>
            <a:endParaRPr lang="en-US" noProof="0" dirty="0"/>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76547354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4" r:id="rId37"/>
    <p:sldLayoutId id="2147483865" r:id="rId38"/>
    <p:sldLayoutId id="2147483866" r:id="rId39"/>
    <p:sldLayoutId id="2147483867" r:id="rId40"/>
    <p:sldLayoutId id="2147483868" r:id="rId41"/>
    <p:sldLayoutId id="2147483869" r:id="rId42"/>
    <p:sldLayoutId id="2147483870" r:id="rId43"/>
    <p:sldLayoutId id="2147483871" r:id="rId44"/>
    <p:sldLayoutId id="2147483872" r:id="rId45"/>
    <p:sldLayoutId id="2147483873" r:id="rId46"/>
  </p:sldLayoutIdLst>
  <p:hf hdr="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spcBef>
          <a:spcPts val="1800"/>
        </a:spcBef>
        <a:spcAft>
          <a:spcPts val="450"/>
        </a:spcAft>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450"/>
        </a:spcBef>
        <a:buFont typeface="+mj-lt"/>
        <a:buNone/>
        <a:defRPr sz="1200" b="1" kern="1200">
          <a:solidFill>
            <a:schemeClr val="tx1"/>
          </a:solidFill>
          <a:latin typeface="+mn-lt"/>
          <a:ea typeface="+mn-ea"/>
          <a:cs typeface="+mn-cs"/>
        </a:defRPr>
      </a:lvl2pPr>
      <a:lvl3pPr marL="1368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3pPr>
      <a:lvl4pPr marL="273600" indent="-136800" algn="l" defTabSz="914400" rtl="0" eaLnBrk="1" latinLnBrk="0" hangingPunct="1">
        <a:spcBef>
          <a:spcPts val="360"/>
        </a:spcBef>
        <a:buClr>
          <a:schemeClr val="accent2"/>
        </a:buClr>
        <a:buSzPct val="80000"/>
        <a:buFont typeface="Wingdings" panose="05000000000000000000" pitchFamily="2" charset="2"/>
        <a:buChar char="§"/>
        <a:tabLst/>
        <a:defRPr sz="1200" kern="1200">
          <a:solidFill>
            <a:schemeClr val="tx1"/>
          </a:solidFill>
          <a:latin typeface="+mn-lt"/>
          <a:ea typeface="+mn-ea"/>
          <a:cs typeface="+mn-cs"/>
        </a:defRPr>
      </a:lvl4pPr>
      <a:lvl5pPr marL="4104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T:\ASM\16-2509-ASM PPT Master\Dreieck.jpg"/>
          <p:cNvPicPr>
            <a:picLocks noChangeAspect="1" noChangeArrowheads="1"/>
          </p:cNvPicPr>
          <p:nvPr/>
        </p:nvPicPr>
        <p:blipFill>
          <a:blip r:embed="rId42">
            <a:extLst>
              <a:ext uri="{BEBA8EAE-BF5A-486C-A8C5-ECC9F3942E4B}">
                <a14:imgProps xmlns:a14="http://schemas.microsoft.com/office/drawing/2010/main">
                  <a14:imgLayer r:embed="rId4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0" y="0"/>
            <a:ext cx="23415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9" name="Rechteck 18"/>
          <p:cNvSpPr/>
          <p:nvPr/>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0" name="Grafik 4"/>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platzhalter 1"/>
          <p:cNvSpPr>
            <a:spLocks noGrp="1"/>
          </p:cNvSpPr>
          <p:nvPr userDrawn="1">
            <p:ph type="title"/>
          </p:nvPr>
        </p:nvSpPr>
        <p:spPr>
          <a:xfrm>
            <a:off x="0" y="432000"/>
            <a:ext cx="9144000" cy="936000"/>
          </a:xfrm>
          <a:prstGeom prst="rect">
            <a:avLst/>
          </a:prstGeom>
        </p:spPr>
        <p:txBody>
          <a:bodyPr vert="horz" lIns="32400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userDrawn="1">
            <p:ph type="body" idx="1"/>
          </p:nvPr>
        </p:nvSpPr>
        <p:spPr>
          <a:xfrm>
            <a:off x="323850" y="1563689"/>
            <a:ext cx="8569324" cy="3240086"/>
          </a:xfrm>
          <a:prstGeom prst="rect">
            <a:avLst/>
          </a:prstGeom>
        </p:spPr>
        <p:txBody>
          <a:bodyPr vert="horz"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userDrawn="1">
            <p:ph type="dt" sz="half" idx="2"/>
          </p:nvPr>
        </p:nvSpPr>
        <p:spPr>
          <a:xfrm>
            <a:off x="7538400" y="4964400"/>
            <a:ext cx="964800" cy="147600"/>
          </a:xfrm>
          <a:prstGeom prst="rect">
            <a:avLst/>
          </a:prstGeom>
        </p:spPr>
        <p:txBody>
          <a:bodyPr vert="horz" lIns="0" tIns="0" rIns="0" bIns="54000" rtlCol="0" anchor="b" anchorCtr="0"/>
          <a:lstStyle>
            <a:lvl1pPr algn="r">
              <a:defRPr sz="600" b="1">
                <a:solidFill>
                  <a:schemeClr val="tx1">
                    <a:tint val="75000"/>
                  </a:schemeClr>
                </a:solidFill>
              </a:defRPr>
            </a:lvl1p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5" name="Fußzeilenplatzhalter 4"/>
          <p:cNvSpPr>
            <a:spLocks noGrp="1"/>
          </p:cNvSpPr>
          <p:nvPr userDrawn="1">
            <p:ph type="ftr" sz="quarter" idx="3"/>
          </p:nvPr>
        </p:nvSpPr>
        <p:spPr>
          <a:xfrm>
            <a:off x="2469600" y="4964400"/>
            <a:ext cx="1224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de-DE">
                <a:solidFill>
                  <a:srgbClr val="000000">
                    <a:tint val="75000"/>
                  </a:srgbClr>
                </a:solidFill>
              </a:rPr>
              <a:t>ASM Assembly Systems</a:t>
            </a:r>
            <a:endParaRPr lang="en-US" dirty="0">
              <a:solidFill>
                <a:srgbClr val="000000">
                  <a:tint val="75000"/>
                </a:srgbClr>
              </a:solidFill>
            </a:endParaRPr>
          </a:p>
        </p:txBody>
      </p:sp>
      <p:sp>
        <p:nvSpPr>
          <p:cNvPr id="6" name="Foliennummernplatzhalter 5"/>
          <p:cNvSpPr>
            <a:spLocks noGrp="1"/>
          </p:cNvSpPr>
          <p:nvPr userDrawn="1">
            <p:ph type="sldNum" sz="quarter" idx="4"/>
          </p:nvPr>
        </p:nvSpPr>
        <p:spPr>
          <a:xfrm>
            <a:off x="8589600" y="4964400"/>
            <a:ext cx="468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4"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5"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spTree>
    <p:extLst>
      <p:ext uri="{BB962C8B-B14F-4D97-AF65-F5344CB8AC3E}">
        <p14:creationId xmlns:p14="http://schemas.microsoft.com/office/powerpoint/2010/main" val="1891051987"/>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Lst>
  <p:hf hdr="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spcBef>
          <a:spcPts val="1800"/>
        </a:spcBef>
        <a:spcAft>
          <a:spcPts val="450"/>
        </a:spcAft>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450"/>
        </a:spcBef>
        <a:buFont typeface="+mj-lt"/>
        <a:buNone/>
        <a:defRPr sz="1200" b="1" kern="1200">
          <a:solidFill>
            <a:schemeClr val="tx1"/>
          </a:solidFill>
          <a:latin typeface="+mn-lt"/>
          <a:ea typeface="+mn-ea"/>
          <a:cs typeface="+mn-cs"/>
        </a:defRPr>
      </a:lvl2pPr>
      <a:lvl3pPr marL="1368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3pPr>
      <a:lvl4pPr marL="273600" indent="-136800" algn="l" defTabSz="914400" rtl="0" eaLnBrk="1" latinLnBrk="0" hangingPunct="1">
        <a:spcBef>
          <a:spcPts val="360"/>
        </a:spcBef>
        <a:buClr>
          <a:schemeClr val="accent2"/>
        </a:buClr>
        <a:buSzPct val="80000"/>
        <a:buFont typeface="Wingdings" panose="05000000000000000000" pitchFamily="2" charset="2"/>
        <a:buChar char="§"/>
        <a:tabLst/>
        <a:defRPr sz="1200" kern="1200">
          <a:solidFill>
            <a:schemeClr val="tx1"/>
          </a:solidFill>
          <a:latin typeface="+mn-lt"/>
          <a:ea typeface="+mn-ea"/>
          <a:cs typeface="+mn-cs"/>
        </a:defRPr>
      </a:lvl4pPr>
      <a:lvl5pPr marL="4104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T:\ASM\16-2509-ASM PPT Master\Dreieck.jpg"/>
          <p:cNvPicPr>
            <a:picLocks noChangeAspect="1" noChangeArrowheads="1"/>
          </p:cNvPicPr>
          <p:nvPr/>
        </p:nvPicPr>
        <p:blipFill>
          <a:blip r:embed="rId42">
            <a:extLst>
              <a:ext uri="{BEBA8EAE-BF5A-486C-A8C5-ECC9F3942E4B}">
                <a14:imgProps xmlns:a14="http://schemas.microsoft.com/office/drawing/2010/main">
                  <a14:imgLayer r:embed="rId4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0" y="0"/>
            <a:ext cx="2341563" cy="5145088"/>
          </a:xfrm>
          <a:prstGeom prst="rect">
            <a:avLst/>
          </a:prstGeom>
          <a:noFill/>
          <a:extLst>
            <a:ext uri="{909E8E84-426E-40DD-AFC4-6F175D3DCCD1}">
              <a14:hiddenFill xmlns:a14="http://schemas.microsoft.com/office/drawing/2010/main">
                <a:solidFill>
                  <a:srgbClr val="FFFFFF"/>
                </a:solidFill>
              </a14:hiddenFill>
            </a:ext>
          </a:extLst>
        </p:spPr>
      </p:pic>
      <p:sp>
        <p:nvSpPr>
          <p:cNvPr id="19" name="Rechteck 18"/>
          <p:cNvSpPr/>
          <p:nvPr/>
        </p:nvSpPr>
        <p:spPr bwMode="auto">
          <a:xfrm>
            <a:off x="0" y="900"/>
            <a:ext cx="9144000" cy="432000"/>
          </a:xfrm>
          <a:prstGeom prst="rect">
            <a:avLst/>
          </a:prstGeom>
          <a:solidFill>
            <a:schemeClr val="accent1"/>
          </a:solidFill>
          <a:ln>
            <a:noFill/>
          </a:ln>
          <a:effectLst/>
          <a:extLst/>
        </p:spPr>
        <p:txBody>
          <a:bodyPr vert="horz" wrap="none" lIns="0" tIns="0" rIns="0" bIns="0" numCol="1" rtlCol="0" anchor="ctr" anchorCtr="0" compatLnSpc="1">
            <a:prstTxWarp prst="textNoShape">
              <a:avLst/>
            </a:prstTxWarp>
          </a:bodyPr>
          <a:lstStyle/>
          <a:p>
            <a:pPr fontAlgn="base">
              <a:spcBef>
                <a:spcPct val="0"/>
              </a:spcBef>
              <a:spcAft>
                <a:spcPct val="0"/>
              </a:spcAft>
            </a:pPr>
            <a:endParaRPr lang="de-DE" sz="1600" b="1">
              <a:solidFill>
                <a:srgbClr val="000000"/>
              </a:solidFill>
              <a:cs typeface="Arial" charset="0"/>
            </a:endParaRPr>
          </a:p>
        </p:txBody>
      </p:sp>
      <p:pic>
        <p:nvPicPr>
          <p:cNvPr id="20" name="Grafik 4"/>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8064000" y="57150"/>
            <a:ext cx="835787"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platzhalter 1"/>
          <p:cNvSpPr>
            <a:spLocks noGrp="1"/>
          </p:cNvSpPr>
          <p:nvPr userDrawn="1">
            <p:ph type="title"/>
          </p:nvPr>
        </p:nvSpPr>
        <p:spPr>
          <a:xfrm>
            <a:off x="0" y="432000"/>
            <a:ext cx="9144000" cy="936000"/>
          </a:xfrm>
          <a:prstGeom prst="rect">
            <a:avLst/>
          </a:prstGeom>
        </p:spPr>
        <p:txBody>
          <a:bodyPr vert="horz" lIns="32400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userDrawn="1">
            <p:ph type="body" idx="1"/>
          </p:nvPr>
        </p:nvSpPr>
        <p:spPr>
          <a:xfrm>
            <a:off x="323850" y="1563689"/>
            <a:ext cx="8569324" cy="3240086"/>
          </a:xfrm>
          <a:prstGeom prst="rect">
            <a:avLst/>
          </a:prstGeom>
        </p:spPr>
        <p:txBody>
          <a:bodyPr vert="horz" lIns="0" tIns="0" rIns="0" bIns="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userDrawn="1">
            <p:ph type="dt" sz="half" idx="2"/>
          </p:nvPr>
        </p:nvSpPr>
        <p:spPr>
          <a:xfrm>
            <a:off x="7538400" y="4964400"/>
            <a:ext cx="964800" cy="147600"/>
          </a:xfrm>
          <a:prstGeom prst="rect">
            <a:avLst/>
          </a:prstGeom>
        </p:spPr>
        <p:txBody>
          <a:bodyPr vert="horz" lIns="0" tIns="0" rIns="0" bIns="54000" rtlCol="0" anchor="b" anchorCtr="0"/>
          <a:lstStyle>
            <a:lvl1pPr algn="r">
              <a:defRPr sz="600" b="1">
                <a:solidFill>
                  <a:schemeClr val="tx1">
                    <a:tint val="75000"/>
                  </a:schemeClr>
                </a:solidFill>
              </a:defRPr>
            </a:lvl1pPr>
          </a:lstStyle>
          <a:p>
            <a:fld id="{4D54D179-9F4E-4FDC-BB8F-297087910197}" type="datetime1">
              <a:rPr lang="en-US" smtClean="0">
                <a:solidFill>
                  <a:srgbClr val="000000">
                    <a:tint val="75000"/>
                  </a:srgbClr>
                </a:solidFill>
              </a:rPr>
              <a:pPr/>
              <a:t>1/26/2018</a:t>
            </a:fld>
            <a:endParaRPr lang="en-US" dirty="0">
              <a:solidFill>
                <a:srgbClr val="000000">
                  <a:tint val="75000"/>
                </a:srgbClr>
              </a:solidFill>
            </a:endParaRPr>
          </a:p>
        </p:txBody>
      </p:sp>
      <p:sp>
        <p:nvSpPr>
          <p:cNvPr id="5" name="Fußzeilenplatzhalter 4"/>
          <p:cNvSpPr>
            <a:spLocks noGrp="1"/>
          </p:cNvSpPr>
          <p:nvPr userDrawn="1">
            <p:ph type="ftr" sz="quarter" idx="3"/>
          </p:nvPr>
        </p:nvSpPr>
        <p:spPr>
          <a:xfrm>
            <a:off x="2469600" y="4964400"/>
            <a:ext cx="1224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de-DE">
                <a:solidFill>
                  <a:srgbClr val="000000">
                    <a:tint val="75000"/>
                  </a:srgbClr>
                </a:solidFill>
              </a:rPr>
              <a:t>ASM Assembly Systems</a:t>
            </a:r>
            <a:endParaRPr lang="en-US" dirty="0">
              <a:solidFill>
                <a:srgbClr val="000000">
                  <a:tint val="75000"/>
                </a:srgbClr>
              </a:solidFill>
            </a:endParaRPr>
          </a:p>
        </p:txBody>
      </p:sp>
      <p:sp>
        <p:nvSpPr>
          <p:cNvPr id="6" name="Foliennummernplatzhalter 5"/>
          <p:cNvSpPr>
            <a:spLocks noGrp="1"/>
          </p:cNvSpPr>
          <p:nvPr userDrawn="1">
            <p:ph type="sldNum" sz="quarter" idx="4"/>
          </p:nvPr>
        </p:nvSpPr>
        <p:spPr>
          <a:xfrm>
            <a:off x="8589600" y="4964400"/>
            <a:ext cx="468000" cy="147600"/>
          </a:xfrm>
          <a:prstGeom prst="rect">
            <a:avLst/>
          </a:prstGeom>
        </p:spPr>
        <p:txBody>
          <a:bodyPr vert="horz" lIns="0" tIns="0" rIns="0" bIns="54000" rtlCol="0" anchor="b" anchorCtr="0"/>
          <a:lstStyle>
            <a:lvl1pPr algn="l">
              <a:defRPr sz="600" b="1">
                <a:solidFill>
                  <a:schemeClr val="tx1">
                    <a:tint val="75000"/>
                  </a:schemeClr>
                </a:solidFill>
              </a:defRPr>
            </a:lvl1pPr>
          </a:lstStyle>
          <a:p>
            <a:r>
              <a:rPr lang="en-US">
                <a:solidFill>
                  <a:srgbClr val="000000">
                    <a:tint val="75000"/>
                  </a:srgbClr>
                </a:solidFill>
              </a:rPr>
              <a:t>Page </a:t>
            </a:r>
            <a:fld id="{9204330F-C5AD-4AC0-88A8-9CB1F8F7EBD6}" type="slidenum">
              <a:rPr lang="en-US" smtClean="0">
                <a:solidFill>
                  <a:srgbClr val="000000">
                    <a:tint val="75000"/>
                  </a:srgbClr>
                </a:solidFill>
              </a:rPr>
              <a:pPr/>
              <a:t>‹Nr.›</a:t>
            </a:fld>
            <a:endParaRPr lang="en-US" dirty="0">
              <a:solidFill>
                <a:srgbClr val="000000">
                  <a:tint val="75000"/>
                </a:srgbClr>
              </a:solidFill>
            </a:endParaRPr>
          </a:p>
        </p:txBody>
      </p:sp>
      <p:sp>
        <p:nvSpPr>
          <p:cNvPr id="14" name="Line 8"/>
          <p:cNvSpPr>
            <a:spLocks noChangeShapeType="1"/>
          </p:cNvSpPr>
          <p:nvPr userDrawn="1"/>
        </p:nvSpPr>
        <p:spPr bwMode="gray">
          <a:xfrm>
            <a:off x="2470150" y="4922730"/>
            <a:ext cx="6423024"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w="3175">
                <a:solidFill>
                  <a:srgbClr val="97A0A5"/>
                </a:solidFill>
              </a:ln>
              <a:solidFill>
                <a:srgbClr val="000000"/>
              </a:solidFill>
            </a:endParaRPr>
          </a:p>
        </p:txBody>
      </p:sp>
      <p:sp>
        <p:nvSpPr>
          <p:cNvPr id="15" name="Line 8"/>
          <p:cNvSpPr>
            <a:spLocks noChangeShapeType="1"/>
          </p:cNvSpPr>
          <p:nvPr userDrawn="1"/>
        </p:nvSpPr>
        <p:spPr bwMode="gray">
          <a:xfrm rot="5400000">
            <a:off x="8495673" y="5006766"/>
            <a:ext cx="108000" cy="0"/>
          </a:xfrm>
          <a:prstGeom prst="line">
            <a:avLst/>
          </a:prstGeom>
          <a:ln>
            <a:solidFill>
              <a:schemeClr val="tx2"/>
            </a:solidFill>
            <a:headEnd/>
            <a:tailEnd/>
          </a:ln>
          <a:extLst/>
        </p:spPr>
        <p:style>
          <a:lnRef idx="1">
            <a:schemeClr val="accent3"/>
          </a:lnRef>
          <a:fillRef idx="0">
            <a:schemeClr val="accent3"/>
          </a:fillRef>
          <a:effectRef idx="0">
            <a:schemeClr val="accent3"/>
          </a:effectRef>
          <a:fontRef idx="minor">
            <a:schemeClr val="tx1"/>
          </a:fontRef>
        </p:style>
        <p:txBody>
          <a:bodyPr wrap="none" lIns="0" tIns="0" rIns="0" bIns="0"/>
          <a:lstStyle/>
          <a:p>
            <a:endParaRPr lang="de-DE">
              <a:ln>
                <a:solidFill>
                  <a:srgbClr val="97A0A5"/>
                </a:solidFill>
              </a:ln>
              <a:solidFill>
                <a:srgbClr val="000000"/>
              </a:solidFill>
            </a:endParaRPr>
          </a:p>
        </p:txBody>
      </p:sp>
    </p:spTree>
    <p:extLst>
      <p:ext uri="{BB962C8B-B14F-4D97-AF65-F5344CB8AC3E}">
        <p14:creationId xmlns:p14="http://schemas.microsoft.com/office/powerpoint/2010/main" val="150964369"/>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1" r:id="rId29"/>
    <p:sldLayoutId id="2147483992" r:id="rId30"/>
    <p:sldLayoutId id="2147483993" r:id="rId31"/>
    <p:sldLayoutId id="2147483994" r:id="rId32"/>
    <p:sldLayoutId id="2147483995" r:id="rId33"/>
    <p:sldLayoutId id="2147483996" r:id="rId34"/>
    <p:sldLayoutId id="2147483997" r:id="rId35"/>
    <p:sldLayoutId id="2147483998" r:id="rId36"/>
    <p:sldLayoutId id="2147483999" r:id="rId37"/>
    <p:sldLayoutId id="2147484000" r:id="rId38"/>
    <p:sldLayoutId id="2147484001" r:id="rId39"/>
    <p:sldLayoutId id="2147484002" r:id="rId40"/>
  </p:sldLayoutIdLst>
  <p:hf hdr="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0" indent="0" algn="l" defTabSz="914400" rtl="0" eaLnBrk="1" latinLnBrk="0" hangingPunct="1">
        <a:spcBef>
          <a:spcPts val="1800"/>
        </a:spcBef>
        <a:spcAft>
          <a:spcPts val="450"/>
        </a:spcAft>
        <a:buFont typeface="Arial" panose="020B0604020202020204" pitchFamily="34" charset="0"/>
        <a:buNone/>
        <a:defRPr sz="1200" b="1" kern="1200">
          <a:solidFill>
            <a:schemeClr val="accent1"/>
          </a:solidFill>
          <a:latin typeface="+mn-lt"/>
          <a:ea typeface="+mn-ea"/>
          <a:cs typeface="+mn-cs"/>
        </a:defRPr>
      </a:lvl1pPr>
      <a:lvl2pPr marL="0" indent="0" algn="l" defTabSz="914400" rtl="0" eaLnBrk="1" latinLnBrk="0" hangingPunct="1">
        <a:spcBef>
          <a:spcPts val="450"/>
        </a:spcBef>
        <a:buFont typeface="+mj-lt"/>
        <a:buNone/>
        <a:defRPr sz="1200" b="1" kern="1200">
          <a:solidFill>
            <a:schemeClr val="tx1"/>
          </a:solidFill>
          <a:latin typeface="+mn-lt"/>
          <a:ea typeface="+mn-ea"/>
          <a:cs typeface="+mn-cs"/>
        </a:defRPr>
      </a:lvl2pPr>
      <a:lvl3pPr marL="1368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3pPr>
      <a:lvl4pPr marL="273600" indent="-136800" algn="l" defTabSz="914400" rtl="0" eaLnBrk="1" latinLnBrk="0" hangingPunct="1">
        <a:spcBef>
          <a:spcPts val="360"/>
        </a:spcBef>
        <a:buClr>
          <a:schemeClr val="accent2"/>
        </a:buClr>
        <a:buSzPct val="80000"/>
        <a:buFont typeface="Wingdings" panose="05000000000000000000" pitchFamily="2" charset="2"/>
        <a:buChar char="§"/>
        <a:tabLst/>
        <a:defRPr sz="1200" kern="1200">
          <a:solidFill>
            <a:schemeClr val="tx1"/>
          </a:solidFill>
          <a:latin typeface="+mn-lt"/>
          <a:ea typeface="+mn-ea"/>
          <a:cs typeface="+mn-cs"/>
        </a:defRPr>
      </a:lvl4pPr>
      <a:lvl5pPr marL="410400" indent="-136800" algn="l" defTabSz="914400" rtl="0" eaLnBrk="1" latinLnBrk="0" hangingPunct="1">
        <a:spcBef>
          <a:spcPts val="360"/>
        </a:spcBef>
        <a:buClr>
          <a:schemeClr val="accent2"/>
        </a:buClr>
        <a:buSzPct val="8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5.xml.rels><?xml version="1.0" encoding="UTF-8" standalone="yes"?>
<Relationships xmlns="http://schemas.openxmlformats.org/package/2006/relationships"><Relationship Id="rId8" Type="http://schemas.openxmlformats.org/officeDocument/2006/relationships/image" Target="../media/image32.wmf"/><Relationship Id="rId3" Type="http://schemas.openxmlformats.org/officeDocument/2006/relationships/oleObject" Target="../embeddings/oleObject9.bin"/><Relationship Id="rId7" Type="http://schemas.openxmlformats.org/officeDocument/2006/relationships/oleObject" Target="../embeddings/oleObject11.bin"/><Relationship Id="rId12" Type="http://schemas.openxmlformats.org/officeDocument/2006/relationships/image" Target="../media/image34.wmf"/><Relationship Id="rId2" Type="http://schemas.openxmlformats.org/officeDocument/2006/relationships/slideLayout" Target="../slideLayouts/slideLayout229.xml"/><Relationship Id="rId1" Type="http://schemas.openxmlformats.org/officeDocument/2006/relationships/vmlDrawing" Target="../drawings/vmlDrawing9.vml"/><Relationship Id="rId6" Type="http://schemas.openxmlformats.org/officeDocument/2006/relationships/image" Target="../media/image31.wmf"/><Relationship Id="rId11" Type="http://schemas.openxmlformats.org/officeDocument/2006/relationships/oleObject" Target="../embeddings/oleObject13.bin"/><Relationship Id="rId5" Type="http://schemas.openxmlformats.org/officeDocument/2006/relationships/oleObject" Target="../embeddings/oleObject10.bin"/><Relationship Id="rId10" Type="http://schemas.openxmlformats.org/officeDocument/2006/relationships/image" Target="../media/image33.wmf"/><Relationship Id="rId4" Type="http://schemas.openxmlformats.org/officeDocument/2006/relationships/image" Target="../media/image30.wmf"/><Relationship Id="rId9"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7895" y="432000"/>
            <a:ext cx="2966105" cy="1668434"/>
          </a:xfrm>
          <a:prstGeom prst="rect">
            <a:avLst/>
          </a:prstGeom>
        </p:spPr>
      </p:pic>
      <p:sp>
        <p:nvSpPr>
          <p:cNvPr id="6" name="Rechteck 5"/>
          <p:cNvSpPr/>
          <p:nvPr/>
        </p:nvSpPr>
        <p:spPr>
          <a:xfrm>
            <a:off x="10572" y="443224"/>
            <a:ext cx="1907704"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 name="Titel 1"/>
          <p:cNvSpPr>
            <a:spLocks noGrp="1"/>
          </p:cNvSpPr>
          <p:nvPr>
            <p:ph type="title"/>
          </p:nvPr>
        </p:nvSpPr>
        <p:spPr>
          <a:xfrm>
            <a:off x="0" y="432000"/>
            <a:ext cx="9144000" cy="587288"/>
          </a:xfrm>
        </p:spPr>
        <p:txBody>
          <a:bodyPr>
            <a:normAutofit/>
          </a:bodyPr>
          <a:lstStyle/>
          <a:p>
            <a:r>
              <a:rPr lang="de-DE" altLang="de-DE" sz="2400" dirty="0"/>
              <a:t>Flexibles LEAN</a:t>
            </a:r>
            <a:endParaRPr lang="en-US" sz="2400" dirty="0"/>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1</a:t>
            </a:fld>
            <a:endParaRPr lang="en-US" dirty="0">
              <a:solidFill>
                <a:srgbClr val="000000">
                  <a:tint val="75000"/>
                </a:srgbClr>
              </a:solidFill>
            </a:endParaRPr>
          </a:p>
        </p:txBody>
      </p:sp>
      <p:sp>
        <p:nvSpPr>
          <p:cNvPr id="7" name="Textfeld 6"/>
          <p:cNvSpPr txBox="1"/>
          <p:nvPr/>
        </p:nvSpPr>
        <p:spPr>
          <a:xfrm>
            <a:off x="323850" y="1166813"/>
            <a:ext cx="8569325" cy="3785652"/>
          </a:xfrm>
          <a:prstGeom prst="rect">
            <a:avLst/>
          </a:prstGeom>
          <a:noFill/>
        </p:spPr>
        <p:txBody>
          <a:bodyPr wrap="square" rtlCol="0">
            <a:spAutoFit/>
          </a:bodyPr>
          <a:lstStyle/>
          <a:p>
            <a:r>
              <a:rPr lang="de-DE" sz="1200" dirty="0"/>
              <a:t>Agenda:</a:t>
            </a:r>
          </a:p>
          <a:p>
            <a:r>
              <a:rPr lang="de-DE" sz="1200" dirty="0"/>
              <a:t>1. Kurze persönliche Vorstellung: (alle zusammen 5 Min.)</a:t>
            </a:r>
            <a:br>
              <a:rPr lang="de-DE" sz="1200" dirty="0"/>
            </a:br>
            <a:r>
              <a:rPr lang="de-DE" sz="1200" dirty="0"/>
              <a:t>Aufgabengebiet, Anzahl MA (feste, temporäre)</a:t>
            </a:r>
          </a:p>
          <a:p>
            <a:r>
              <a:rPr lang="de-DE" sz="1200" dirty="0"/>
              <a:t>Inhalt Aufgabengebiet:</a:t>
            </a:r>
            <a:br>
              <a:rPr lang="de-DE" sz="1200" dirty="0"/>
            </a:br>
            <a:r>
              <a:rPr lang="de-DE" sz="1200" dirty="0"/>
              <a:t>Produktion von Produkten (Qualität, Menge und Lieferzeit), Planung und Gestaltung des Produktionsprozesses und Produktionsbereiches (nach LEAN. WS, Wege-Analyse, Taktplanung) 5 Min</a:t>
            </a:r>
          </a:p>
          <a:p>
            <a:r>
              <a:rPr lang="de-DE" sz="1200" dirty="0"/>
              <a:t>Sourcing MA, Entwicklung und Betreuung von MA, usw.</a:t>
            </a:r>
          </a:p>
          <a:p>
            <a:endParaRPr lang="de-DE" sz="1200" dirty="0"/>
          </a:p>
          <a:p>
            <a:r>
              <a:rPr lang="de-DE" sz="1200" dirty="0"/>
              <a:t>2. Themen</a:t>
            </a:r>
          </a:p>
          <a:p>
            <a:r>
              <a:rPr lang="de-DE" sz="1200" dirty="0"/>
              <a:t>A) Mitarbeiter: (5 min)</a:t>
            </a:r>
          </a:p>
          <a:p>
            <a:r>
              <a:rPr lang="de-DE" sz="1200" dirty="0"/>
              <a:t>Philosophie SCM</a:t>
            </a:r>
          </a:p>
          <a:p>
            <a:r>
              <a:rPr lang="de-DE" sz="1200" dirty="0"/>
              <a:t>Stamm feste MA</a:t>
            </a:r>
          </a:p>
          <a:p>
            <a:r>
              <a:rPr lang="de-DE" sz="1200" dirty="0"/>
              <a:t>Zusätzliche Kapazität:</a:t>
            </a:r>
          </a:p>
          <a:p>
            <a:pPr marL="285750" indent="-285750">
              <a:buFont typeface="Arial" panose="020B0604020202020204" pitchFamily="34" charset="0"/>
              <a:buChar char="•"/>
            </a:pPr>
            <a:r>
              <a:rPr lang="de-DE" sz="1200" dirty="0"/>
              <a:t>Gleitzeitmodell nutzen (+- 250 Std., temporär auch &gt; 250 Std. mit BR)</a:t>
            </a:r>
          </a:p>
          <a:p>
            <a:pPr marL="285750" indent="-285750">
              <a:buFont typeface="Arial" panose="020B0604020202020204" pitchFamily="34" charset="0"/>
              <a:buChar char="•"/>
            </a:pPr>
            <a:r>
              <a:rPr lang="de-DE" sz="1200" dirty="0"/>
              <a:t>Samstagsarbeit</a:t>
            </a:r>
          </a:p>
          <a:p>
            <a:pPr marL="285750" indent="-285750">
              <a:buFont typeface="Arial" panose="020B0604020202020204" pitchFamily="34" charset="0"/>
              <a:buChar char="•"/>
            </a:pPr>
            <a:r>
              <a:rPr lang="de-DE" sz="1200" dirty="0"/>
              <a:t>Aufbau / Abbau </a:t>
            </a:r>
            <a:r>
              <a:rPr lang="de-DE" sz="1200" dirty="0" err="1"/>
              <a:t>temp</a:t>
            </a:r>
            <a:r>
              <a:rPr lang="de-DE" sz="1200" dirty="0"/>
              <a:t>. MA</a:t>
            </a:r>
          </a:p>
          <a:p>
            <a:pPr marL="285750" indent="-285750">
              <a:buFont typeface="Arial" panose="020B0604020202020204" pitchFamily="34" charset="0"/>
              <a:buChar char="•"/>
            </a:pPr>
            <a:r>
              <a:rPr lang="de-DE" sz="1200" dirty="0"/>
              <a:t>Zeitversetztes Arbeiten (6:00 – 20:00 Uhr bei knappen Ressourcen Betriebsmittel)</a:t>
            </a:r>
          </a:p>
          <a:p>
            <a:pPr marL="285750" indent="-285750">
              <a:buFont typeface="Arial" panose="020B0604020202020204" pitchFamily="34" charset="0"/>
              <a:buChar char="•"/>
            </a:pPr>
            <a:r>
              <a:rPr lang="de-DE" sz="1200" dirty="0"/>
              <a:t>2- Schicht-Betrieb (6:00-21:30 Uhr bei &gt; Output)</a:t>
            </a:r>
          </a:p>
          <a:p>
            <a:pPr marL="285750" indent="-285750">
              <a:buFont typeface="Arial" panose="020B0604020202020204" pitchFamily="34" charset="0"/>
              <a:buChar char="•"/>
            </a:pPr>
            <a:r>
              <a:rPr lang="de-DE" sz="1200" dirty="0"/>
              <a:t>Jobrotation intern (Qualifizierungsmatrix, Bild zeigen, Philosophie)</a:t>
            </a:r>
          </a:p>
          <a:p>
            <a:pPr marL="285750" indent="-285750">
              <a:buFont typeface="Arial" panose="020B0604020202020204" pitchFamily="34" charset="0"/>
              <a:buChar char="•"/>
            </a:pPr>
            <a:r>
              <a:rPr lang="de-DE" sz="1200" dirty="0"/>
              <a:t>Unterstützung von indirekten Mitarbeitern in Produktion</a:t>
            </a:r>
          </a:p>
        </p:txBody>
      </p:sp>
    </p:spTree>
    <p:extLst>
      <p:ext uri="{BB962C8B-B14F-4D97-AF65-F5344CB8AC3E}">
        <p14:creationId xmlns:p14="http://schemas.microsoft.com/office/powerpoint/2010/main" val="2307841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0572" y="443224"/>
            <a:ext cx="1907704"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 name="Titel 1"/>
          <p:cNvSpPr>
            <a:spLocks noGrp="1"/>
          </p:cNvSpPr>
          <p:nvPr>
            <p:ph type="title"/>
          </p:nvPr>
        </p:nvSpPr>
        <p:spPr>
          <a:xfrm>
            <a:off x="0" y="432000"/>
            <a:ext cx="9144000" cy="587288"/>
          </a:xfrm>
        </p:spPr>
        <p:txBody>
          <a:bodyPr>
            <a:normAutofit/>
          </a:bodyPr>
          <a:lstStyle/>
          <a:p>
            <a:r>
              <a:rPr lang="de-DE" altLang="de-DE" sz="2400" dirty="0"/>
              <a:t>Flexibles LEAN</a:t>
            </a:r>
            <a:endParaRPr lang="en-US" sz="2400" dirty="0"/>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2</a:t>
            </a:fld>
            <a:endParaRPr lang="en-US" dirty="0">
              <a:solidFill>
                <a:srgbClr val="000000">
                  <a:tint val="75000"/>
                </a:srgbClr>
              </a:solidFill>
            </a:endParaRPr>
          </a:p>
        </p:txBody>
      </p:sp>
      <p:sp>
        <p:nvSpPr>
          <p:cNvPr id="7" name="Textfeld 6"/>
          <p:cNvSpPr txBox="1"/>
          <p:nvPr/>
        </p:nvSpPr>
        <p:spPr>
          <a:xfrm>
            <a:off x="323850" y="1166813"/>
            <a:ext cx="8569325" cy="2477601"/>
          </a:xfrm>
          <a:prstGeom prst="rect">
            <a:avLst/>
          </a:prstGeom>
          <a:noFill/>
        </p:spPr>
        <p:txBody>
          <a:bodyPr wrap="square" rtlCol="0">
            <a:spAutoFit/>
          </a:bodyPr>
          <a:lstStyle/>
          <a:p>
            <a:r>
              <a:rPr lang="de-DE" sz="1200" dirty="0"/>
              <a:t>B) Infrastruktur: mehr Bilder (5 min)</a:t>
            </a:r>
          </a:p>
          <a:p>
            <a:pPr marL="171450" indent="-171450">
              <a:spcBef>
                <a:spcPts val="600"/>
              </a:spcBef>
              <a:buFont typeface="Arial" panose="020B0604020202020204" pitchFamily="34" charset="0"/>
              <a:buChar char="•"/>
            </a:pPr>
            <a:r>
              <a:rPr lang="de-DE" sz="1200" dirty="0"/>
              <a:t>Energieversorgung (Strom, Luft) von oben</a:t>
            </a:r>
          </a:p>
          <a:p>
            <a:pPr marL="171450" indent="-171450">
              <a:spcBef>
                <a:spcPts val="600"/>
              </a:spcBef>
              <a:buFont typeface="Arial" panose="020B0604020202020204" pitchFamily="34" charset="0"/>
              <a:buChar char="•"/>
            </a:pPr>
            <a:r>
              <a:rPr lang="de-DE" sz="1200" dirty="0"/>
              <a:t>IT / LAN von oben, bzw. WLAN (</a:t>
            </a:r>
            <a:r>
              <a:rPr lang="de-DE" sz="1200" dirty="0" err="1"/>
              <a:t>skalierfähig</a:t>
            </a:r>
            <a:r>
              <a:rPr lang="de-DE" sz="1200" dirty="0"/>
              <a:t> durch Glasfaser läuft derzeit, gepl. Für 2015, verschoben wegen High Volume Produktion)</a:t>
            </a:r>
          </a:p>
          <a:p>
            <a:pPr marL="171450" indent="-171450">
              <a:spcBef>
                <a:spcPts val="600"/>
              </a:spcBef>
              <a:buFont typeface="Arial" panose="020B0604020202020204" pitchFamily="34" charset="0"/>
              <a:buChar char="•"/>
            </a:pPr>
            <a:r>
              <a:rPr lang="de-DE" sz="1200" dirty="0"/>
              <a:t>Inselgestaltung nach LEAN / Standards oder flexibles LEAN Methodik (wegen begrenzender Themen)</a:t>
            </a:r>
          </a:p>
          <a:p>
            <a:pPr marL="171450" indent="-171450">
              <a:spcBef>
                <a:spcPts val="600"/>
              </a:spcBef>
              <a:buFont typeface="Arial" panose="020B0604020202020204" pitchFamily="34" charset="0"/>
              <a:buChar char="•"/>
            </a:pPr>
            <a:r>
              <a:rPr lang="de-DE" sz="1200" dirty="0"/>
              <a:t>Inselgestaltung flexibel (innerhalb kurzer Zeit) (Z-Achse, Vision Dez 2017, 2 Tage, Plan für Produktion in Büro vorhanden)</a:t>
            </a:r>
          </a:p>
          <a:p>
            <a:pPr marL="171450" indent="-171450">
              <a:spcBef>
                <a:spcPts val="600"/>
              </a:spcBef>
              <a:buFont typeface="Arial" panose="020B0604020202020204" pitchFamily="34" charset="0"/>
              <a:buChar char="•"/>
            </a:pPr>
            <a:r>
              <a:rPr lang="de-DE" sz="1200" dirty="0"/>
              <a:t>KVP-Werkstatt am Ort </a:t>
            </a:r>
          </a:p>
          <a:p>
            <a:pPr marL="171450" indent="-171450">
              <a:spcBef>
                <a:spcPts val="600"/>
              </a:spcBef>
              <a:buFont typeface="Arial" panose="020B0604020202020204" pitchFamily="34" charset="0"/>
              <a:buChar char="•"/>
            </a:pPr>
            <a:r>
              <a:rPr lang="de-DE" sz="1200" dirty="0"/>
              <a:t>Logistik, </a:t>
            </a:r>
            <a:r>
              <a:rPr lang="de-DE" sz="1200" dirty="0" err="1"/>
              <a:t>Sifa</a:t>
            </a:r>
            <a:r>
              <a:rPr lang="de-DE" sz="1200" dirty="0"/>
              <a:t>, Techn. Dienste bei Planung / Genehmigung dabei (Bildbeispiel Planungsgenehmigung)</a:t>
            </a:r>
          </a:p>
          <a:p>
            <a:pPr marL="171450" indent="-171450">
              <a:spcBef>
                <a:spcPts val="600"/>
              </a:spcBef>
              <a:buFont typeface="Arial" panose="020B0604020202020204" pitchFamily="34" charset="0"/>
              <a:buChar char="•"/>
            </a:pPr>
            <a:r>
              <a:rPr lang="de-DE" sz="1200"/>
              <a:t>Backup </a:t>
            </a:r>
            <a:r>
              <a:rPr lang="de-DE" sz="1200" dirty="0"/>
              <a:t>Lösung bei Flächenmehrbedarf = Büroräume zu Produktionsfläche bereits vorhanden</a:t>
            </a:r>
          </a:p>
          <a:p>
            <a:endParaRPr lang="de-DE" sz="1200" dirty="0"/>
          </a:p>
        </p:txBody>
      </p:sp>
    </p:spTree>
    <p:extLst>
      <p:ext uri="{BB962C8B-B14F-4D97-AF65-F5344CB8AC3E}">
        <p14:creationId xmlns:p14="http://schemas.microsoft.com/office/powerpoint/2010/main" val="3179328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0572" y="443224"/>
            <a:ext cx="1907704"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 name="Titel 1"/>
          <p:cNvSpPr>
            <a:spLocks noGrp="1"/>
          </p:cNvSpPr>
          <p:nvPr>
            <p:ph type="title"/>
          </p:nvPr>
        </p:nvSpPr>
        <p:spPr>
          <a:xfrm>
            <a:off x="0" y="432000"/>
            <a:ext cx="9144000" cy="587288"/>
          </a:xfrm>
        </p:spPr>
        <p:txBody>
          <a:bodyPr>
            <a:normAutofit/>
          </a:bodyPr>
          <a:lstStyle/>
          <a:p>
            <a:r>
              <a:rPr lang="de-DE" altLang="de-DE" sz="2400" dirty="0"/>
              <a:t>Flexibles LEAN</a:t>
            </a:r>
            <a:endParaRPr lang="en-US" sz="2400" dirty="0"/>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3</a:t>
            </a:fld>
            <a:endParaRPr lang="en-US" dirty="0">
              <a:solidFill>
                <a:srgbClr val="000000">
                  <a:tint val="75000"/>
                </a:srgbClr>
              </a:solidFill>
            </a:endParaRPr>
          </a:p>
        </p:txBody>
      </p:sp>
      <p:sp>
        <p:nvSpPr>
          <p:cNvPr id="7" name="Textfeld 6"/>
          <p:cNvSpPr txBox="1"/>
          <p:nvPr/>
        </p:nvSpPr>
        <p:spPr>
          <a:xfrm>
            <a:off x="323850" y="1166813"/>
            <a:ext cx="8569325" cy="3185487"/>
          </a:xfrm>
          <a:prstGeom prst="rect">
            <a:avLst/>
          </a:prstGeom>
          <a:noFill/>
        </p:spPr>
        <p:txBody>
          <a:bodyPr wrap="square" rtlCol="0">
            <a:spAutoFit/>
          </a:bodyPr>
          <a:lstStyle/>
          <a:p>
            <a:r>
              <a:rPr lang="de-DE" sz="1200" dirty="0"/>
              <a:t>C) Globales Netzwerk: (5 min)</a:t>
            </a:r>
          </a:p>
          <a:p>
            <a:pPr marL="171450" indent="-171450">
              <a:spcBef>
                <a:spcPts val="600"/>
              </a:spcBef>
              <a:buFont typeface="Arial" panose="020B0604020202020204" pitchFamily="34" charset="0"/>
              <a:buChar char="•"/>
            </a:pPr>
            <a:r>
              <a:rPr lang="de-DE" sz="1200" dirty="0"/>
              <a:t>Fabriken in WEY / MÜ / SGP / MY . Wie (z.B. Prometheus, Printer </a:t>
            </a:r>
            <a:r>
              <a:rPr lang="de-DE" sz="1200" dirty="0" err="1"/>
              <a:t>Assembly</a:t>
            </a:r>
            <a:r>
              <a:rPr lang="de-DE" sz="1200" dirty="0"/>
              <a:t> in MY / SGP)</a:t>
            </a:r>
          </a:p>
          <a:p>
            <a:pPr marL="171450" indent="-171450">
              <a:spcBef>
                <a:spcPts val="600"/>
              </a:spcBef>
              <a:buFont typeface="Arial" panose="020B0604020202020204" pitchFamily="34" charset="0"/>
              <a:buChar char="•"/>
            </a:pPr>
            <a:r>
              <a:rPr lang="de-DE" sz="1200" dirty="0"/>
              <a:t>München = LEAD Factory für </a:t>
            </a:r>
            <a:r>
              <a:rPr lang="de-DE" sz="1200" dirty="0" err="1"/>
              <a:t>Bestückautomaten</a:t>
            </a:r>
            <a:endParaRPr lang="de-DE" sz="1200" dirty="0"/>
          </a:p>
          <a:p>
            <a:pPr marL="171450" indent="-171450">
              <a:spcBef>
                <a:spcPts val="600"/>
              </a:spcBef>
              <a:buFont typeface="Arial" panose="020B0604020202020204" pitchFamily="34" charset="0"/>
              <a:buChar char="•"/>
            </a:pPr>
            <a:r>
              <a:rPr lang="de-DE" sz="1200" dirty="0" err="1"/>
              <a:t>Weymouth</a:t>
            </a:r>
            <a:r>
              <a:rPr lang="de-DE" sz="1200" dirty="0"/>
              <a:t> = LEAD Factory für Printer</a:t>
            </a:r>
          </a:p>
          <a:p>
            <a:pPr marL="171450" indent="-171450">
              <a:spcBef>
                <a:spcPts val="600"/>
              </a:spcBef>
              <a:buFont typeface="Arial" panose="020B0604020202020204" pitchFamily="34" charset="0"/>
              <a:buChar char="•"/>
            </a:pPr>
            <a:r>
              <a:rPr lang="de-DE" sz="1200" dirty="0"/>
              <a:t>VC, schnelle übergreifende Kommunikation</a:t>
            </a:r>
          </a:p>
          <a:p>
            <a:pPr marL="171450" indent="-171450">
              <a:spcBef>
                <a:spcPts val="600"/>
              </a:spcBef>
              <a:buFont typeface="Arial" panose="020B0604020202020204" pitchFamily="34" charset="0"/>
              <a:buChar char="•"/>
            </a:pPr>
            <a:r>
              <a:rPr lang="de-DE" sz="1200" dirty="0"/>
              <a:t>MA-Qualifizierung in LEAD Factory, Vertiefung vor Ort</a:t>
            </a:r>
          </a:p>
          <a:p>
            <a:pPr marL="171450" indent="-171450">
              <a:spcBef>
                <a:spcPts val="600"/>
              </a:spcBef>
              <a:buFont typeface="Arial" panose="020B0604020202020204" pitchFamily="34" charset="0"/>
              <a:buChar char="•"/>
            </a:pPr>
            <a:r>
              <a:rPr lang="de-DE" sz="1200" dirty="0" err="1"/>
              <a:t>Prozeß</a:t>
            </a:r>
            <a:r>
              <a:rPr lang="de-DE" sz="1200" dirty="0"/>
              <a:t>-/ Qualitätscontrolling Kriterien gleich, passiert vor Ort</a:t>
            </a:r>
          </a:p>
          <a:p>
            <a:pPr marL="171450" indent="-171450">
              <a:spcBef>
                <a:spcPts val="600"/>
              </a:spcBef>
              <a:buFont typeface="Arial" panose="020B0604020202020204" pitchFamily="34" charset="0"/>
              <a:buChar char="•"/>
            </a:pPr>
            <a:r>
              <a:rPr lang="de-DE" sz="1200" dirty="0"/>
              <a:t>Standards Global (z.B. Bodenmarkierungen, usw.)</a:t>
            </a:r>
          </a:p>
          <a:p>
            <a:pPr marL="171450" indent="-171450">
              <a:spcBef>
                <a:spcPts val="600"/>
              </a:spcBef>
              <a:buFont typeface="Arial" panose="020B0604020202020204" pitchFamily="34" charset="0"/>
              <a:buChar char="•"/>
            </a:pPr>
            <a:r>
              <a:rPr lang="de-DE" sz="1200" dirty="0"/>
              <a:t>Wertstromanalyse MY</a:t>
            </a:r>
          </a:p>
          <a:p>
            <a:pPr marL="171450" indent="-171450">
              <a:spcBef>
                <a:spcPts val="600"/>
              </a:spcBef>
              <a:buFont typeface="Arial" panose="020B0604020202020204" pitchFamily="34" charset="0"/>
              <a:buChar char="•"/>
            </a:pPr>
            <a:endParaRPr lang="de-DE" sz="1200" dirty="0"/>
          </a:p>
          <a:p>
            <a:pPr marL="171450" indent="-171450">
              <a:buFont typeface="Arial" panose="020B0604020202020204" pitchFamily="34" charset="0"/>
              <a:buChar char="•"/>
            </a:pPr>
            <a:endParaRPr lang="de-DE" sz="1200" dirty="0"/>
          </a:p>
          <a:p>
            <a:pPr marL="171450" indent="-171450">
              <a:buFont typeface="Arial" panose="020B0604020202020204" pitchFamily="34" charset="0"/>
              <a:buChar char="•"/>
            </a:pPr>
            <a:endParaRPr lang="de-DE" sz="1200" dirty="0"/>
          </a:p>
          <a:p>
            <a:endParaRPr lang="de-DE" sz="1200" dirty="0"/>
          </a:p>
        </p:txBody>
      </p:sp>
      <p:grpSp>
        <p:nvGrpSpPr>
          <p:cNvPr id="8" name="Gruppieren 7"/>
          <p:cNvGrpSpPr/>
          <p:nvPr/>
        </p:nvGrpSpPr>
        <p:grpSpPr>
          <a:xfrm>
            <a:off x="6057594" y="724828"/>
            <a:ext cx="2961611" cy="2032000"/>
            <a:chOff x="6147607" y="420023"/>
            <a:chExt cx="5238432" cy="3660316"/>
          </a:xfrm>
        </p:grpSpPr>
        <p:grpSp>
          <p:nvGrpSpPr>
            <p:cNvPr id="9" name="Gruppieren 8"/>
            <p:cNvGrpSpPr/>
            <p:nvPr/>
          </p:nvGrpSpPr>
          <p:grpSpPr>
            <a:xfrm>
              <a:off x="6147607" y="420023"/>
              <a:ext cx="1016000" cy="1016000"/>
              <a:chOff x="6196882" y="716169"/>
              <a:chExt cx="1016000" cy="1016000"/>
            </a:xfrm>
          </p:grpSpPr>
          <p:sp>
            <p:nvSpPr>
              <p:cNvPr id="25" name="Ellipse 24"/>
              <p:cNvSpPr/>
              <p:nvPr/>
            </p:nvSpPr>
            <p:spPr>
              <a:xfrm>
                <a:off x="6196882" y="716169"/>
                <a:ext cx="1016000" cy="1016000"/>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26" name="Textfeld 25"/>
              <p:cNvSpPr txBox="1"/>
              <p:nvPr/>
            </p:nvSpPr>
            <p:spPr>
              <a:xfrm>
                <a:off x="6281460" y="993337"/>
                <a:ext cx="896540" cy="471247"/>
              </a:xfrm>
              <a:prstGeom prst="rect">
                <a:avLst/>
              </a:prstGeom>
              <a:noFill/>
            </p:spPr>
            <p:txBody>
              <a:bodyPr wrap="none" rtlCol="0">
                <a:spAutoFit/>
              </a:bodyPr>
              <a:lstStyle/>
              <a:p>
                <a:r>
                  <a:rPr lang="de-DE" sz="1100" dirty="0"/>
                  <a:t>WEY</a:t>
                </a:r>
              </a:p>
            </p:txBody>
          </p:sp>
        </p:grpSp>
        <p:grpSp>
          <p:nvGrpSpPr>
            <p:cNvPr id="10" name="Gruppieren 9"/>
            <p:cNvGrpSpPr/>
            <p:nvPr/>
          </p:nvGrpSpPr>
          <p:grpSpPr>
            <a:xfrm>
              <a:off x="6917934" y="2048339"/>
              <a:ext cx="1016000" cy="1016000"/>
              <a:chOff x="7518752" y="1494974"/>
              <a:chExt cx="1016000" cy="1016000"/>
            </a:xfrm>
          </p:grpSpPr>
          <p:sp>
            <p:nvSpPr>
              <p:cNvPr id="23" name="Ellipse 22"/>
              <p:cNvSpPr/>
              <p:nvPr/>
            </p:nvSpPr>
            <p:spPr>
              <a:xfrm>
                <a:off x="7518752" y="1494974"/>
                <a:ext cx="1016000" cy="1016000"/>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24" name="Textfeld 23"/>
              <p:cNvSpPr txBox="1"/>
              <p:nvPr/>
            </p:nvSpPr>
            <p:spPr>
              <a:xfrm>
                <a:off x="7684044" y="1775881"/>
                <a:ext cx="715078" cy="471247"/>
              </a:xfrm>
              <a:prstGeom prst="rect">
                <a:avLst/>
              </a:prstGeom>
              <a:noFill/>
            </p:spPr>
            <p:txBody>
              <a:bodyPr wrap="none" rtlCol="0">
                <a:spAutoFit/>
              </a:bodyPr>
              <a:lstStyle/>
              <a:p>
                <a:r>
                  <a:rPr lang="de-DE" sz="1100" dirty="0"/>
                  <a:t>MÜ</a:t>
                </a:r>
              </a:p>
            </p:txBody>
          </p:sp>
        </p:grpSp>
        <p:grpSp>
          <p:nvGrpSpPr>
            <p:cNvPr id="11" name="Gruppieren 10"/>
            <p:cNvGrpSpPr/>
            <p:nvPr/>
          </p:nvGrpSpPr>
          <p:grpSpPr>
            <a:xfrm>
              <a:off x="10370039" y="2198916"/>
              <a:ext cx="1016000" cy="1016000"/>
              <a:chOff x="9956800" y="2481944"/>
              <a:chExt cx="1016000" cy="1016000"/>
            </a:xfrm>
          </p:grpSpPr>
          <p:sp>
            <p:nvSpPr>
              <p:cNvPr id="21" name="Ellipse 20"/>
              <p:cNvSpPr/>
              <p:nvPr/>
            </p:nvSpPr>
            <p:spPr>
              <a:xfrm>
                <a:off x="9956800" y="2481944"/>
                <a:ext cx="1016000" cy="1016000"/>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22" name="Textfeld 21"/>
              <p:cNvSpPr txBox="1"/>
              <p:nvPr/>
            </p:nvSpPr>
            <p:spPr>
              <a:xfrm>
                <a:off x="10165678" y="2753250"/>
                <a:ext cx="700899" cy="471247"/>
              </a:xfrm>
              <a:prstGeom prst="rect">
                <a:avLst/>
              </a:prstGeom>
              <a:noFill/>
            </p:spPr>
            <p:txBody>
              <a:bodyPr wrap="none" rtlCol="0">
                <a:spAutoFit/>
              </a:bodyPr>
              <a:lstStyle/>
              <a:p>
                <a:r>
                  <a:rPr lang="de-DE" sz="1100" dirty="0"/>
                  <a:t>MY</a:t>
                </a:r>
              </a:p>
            </p:txBody>
          </p:sp>
        </p:grpSp>
        <p:grpSp>
          <p:nvGrpSpPr>
            <p:cNvPr id="12" name="Gruppieren 11"/>
            <p:cNvGrpSpPr/>
            <p:nvPr/>
          </p:nvGrpSpPr>
          <p:grpSpPr>
            <a:xfrm>
              <a:off x="9354039" y="3064339"/>
              <a:ext cx="1022811" cy="1016000"/>
              <a:chOff x="9020629" y="3214916"/>
              <a:chExt cx="1022811" cy="1016000"/>
            </a:xfrm>
          </p:grpSpPr>
          <p:sp>
            <p:nvSpPr>
              <p:cNvPr id="19" name="Ellipse 18"/>
              <p:cNvSpPr/>
              <p:nvPr/>
            </p:nvSpPr>
            <p:spPr>
              <a:xfrm>
                <a:off x="9020629" y="3214916"/>
                <a:ext cx="1016000" cy="1016000"/>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a:p>
            </p:txBody>
          </p:sp>
          <p:sp>
            <p:nvSpPr>
              <p:cNvPr id="20" name="Textfeld 19"/>
              <p:cNvSpPr txBox="1"/>
              <p:nvPr/>
            </p:nvSpPr>
            <p:spPr>
              <a:xfrm>
                <a:off x="9189432" y="3497944"/>
                <a:ext cx="854008" cy="471247"/>
              </a:xfrm>
              <a:prstGeom prst="rect">
                <a:avLst/>
              </a:prstGeom>
              <a:noFill/>
            </p:spPr>
            <p:txBody>
              <a:bodyPr wrap="none" rtlCol="0">
                <a:spAutoFit/>
              </a:bodyPr>
              <a:lstStyle/>
              <a:p>
                <a:r>
                  <a:rPr lang="de-DE" sz="1100" dirty="0"/>
                  <a:t>SGP</a:t>
                </a:r>
              </a:p>
            </p:txBody>
          </p:sp>
        </p:grpSp>
        <p:cxnSp>
          <p:nvCxnSpPr>
            <p:cNvPr id="13" name="Gerade Verbindung mit Pfeil 12"/>
            <p:cNvCxnSpPr>
              <a:stCxn id="25" idx="6"/>
              <a:endCxn id="21" idx="2"/>
            </p:cNvCxnSpPr>
            <p:nvPr/>
          </p:nvCxnSpPr>
          <p:spPr>
            <a:xfrm>
              <a:off x="7163607" y="928023"/>
              <a:ext cx="3206432" cy="1778893"/>
            </a:xfrm>
            <a:prstGeom prst="straightConnector1">
              <a:avLst/>
            </a:prstGeom>
            <a:ln w="3175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a:stCxn id="25" idx="6"/>
              <a:endCxn id="23" idx="0"/>
            </p:cNvCxnSpPr>
            <p:nvPr/>
          </p:nvCxnSpPr>
          <p:spPr>
            <a:xfrm>
              <a:off x="7163607" y="928023"/>
              <a:ext cx="262327" cy="1120316"/>
            </a:xfrm>
            <a:prstGeom prst="straightConnector1">
              <a:avLst/>
            </a:prstGeom>
            <a:ln w="3175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a:stCxn id="25" idx="6"/>
              <a:endCxn id="19" idx="1"/>
            </p:cNvCxnSpPr>
            <p:nvPr/>
          </p:nvCxnSpPr>
          <p:spPr>
            <a:xfrm>
              <a:off x="7163607" y="928023"/>
              <a:ext cx="2339222" cy="2285106"/>
            </a:xfrm>
            <a:prstGeom prst="straightConnector1">
              <a:avLst/>
            </a:prstGeom>
            <a:ln w="3175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23" idx="6"/>
              <a:endCxn id="19" idx="1"/>
            </p:cNvCxnSpPr>
            <p:nvPr/>
          </p:nvCxnSpPr>
          <p:spPr>
            <a:xfrm>
              <a:off x="7933934" y="2556339"/>
              <a:ext cx="1568895" cy="656790"/>
            </a:xfrm>
            <a:prstGeom prst="straightConnector1">
              <a:avLst/>
            </a:prstGeom>
            <a:ln w="3175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a:stCxn id="23" idx="6"/>
              <a:endCxn id="21" idx="2"/>
            </p:cNvCxnSpPr>
            <p:nvPr/>
          </p:nvCxnSpPr>
          <p:spPr>
            <a:xfrm>
              <a:off x="7933934" y="2556339"/>
              <a:ext cx="2436105" cy="150577"/>
            </a:xfrm>
            <a:prstGeom prst="straightConnector1">
              <a:avLst/>
            </a:prstGeom>
            <a:ln w="3175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a:stCxn id="21" idx="3"/>
              <a:endCxn id="19" idx="7"/>
            </p:cNvCxnSpPr>
            <p:nvPr/>
          </p:nvCxnSpPr>
          <p:spPr>
            <a:xfrm flipH="1">
              <a:off x="10221249" y="3066126"/>
              <a:ext cx="297580" cy="147003"/>
            </a:xfrm>
            <a:prstGeom prst="straightConnector1">
              <a:avLst/>
            </a:prstGeom>
            <a:ln w="31750">
              <a:solidFill>
                <a:schemeClr val="accent6">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61895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0572" y="443224"/>
            <a:ext cx="1907704"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 name="Titel 1"/>
          <p:cNvSpPr>
            <a:spLocks noGrp="1"/>
          </p:cNvSpPr>
          <p:nvPr>
            <p:ph type="title"/>
          </p:nvPr>
        </p:nvSpPr>
        <p:spPr>
          <a:xfrm>
            <a:off x="0" y="432000"/>
            <a:ext cx="9144000" cy="587288"/>
          </a:xfrm>
        </p:spPr>
        <p:txBody>
          <a:bodyPr>
            <a:normAutofit/>
          </a:bodyPr>
          <a:lstStyle/>
          <a:p>
            <a:r>
              <a:rPr lang="de-DE" altLang="de-DE" sz="2400" dirty="0"/>
              <a:t>Flexibles LEAN</a:t>
            </a:r>
            <a:endParaRPr lang="en-US" sz="2400" dirty="0"/>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4</a:t>
            </a:fld>
            <a:endParaRPr lang="en-US" dirty="0">
              <a:solidFill>
                <a:srgbClr val="000000">
                  <a:tint val="75000"/>
                </a:srgbClr>
              </a:solidFill>
            </a:endParaRPr>
          </a:p>
        </p:txBody>
      </p:sp>
      <p:sp>
        <p:nvSpPr>
          <p:cNvPr id="7" name="Textfeld 6"/>
          <p:cNvSpPr txBox="1"/>
          <p:nvPr/>
        </p:nvSpPr>
        <p:spPr>
          <a:xfrm>
            <a:off x="323850" y="1166813"/>
            <a:ext cx="8569325" cy="1785104"/>
          </a:xfrm>
          <a:prstGeom prst="rect">
            <a:avLst/>
          </a:prstGeom>
          <a:noFill/>
        </p:spPr>
        <p:txBody>
          <a:bodyPr wrap="square" rtlCol="0">
            <a:spAutoFit/>
          </a:bodyPr>
          <a:lstStyle/>
          <a:p>
            <a:r>
              <a:rPr lang="de-DE" sz="1400" dirty="0"/>
              <a:t>In den drei Gebieten Mitarbeiter / Infrastruktur / Globales Netzwerk</a:t>
            </a:r>
          </a:p>
          <a:p>
            <a:pPr marL="171450" indent="-171450">
              <a:buFont typeface="Arial" panose="020B0604020202020204" pitchFamily="34" charset="0"/>
              <a:buChar char="•"/>
            </a:pPr>
            <a:endParaRPr lang="de-DE" sz="1200" dirty="0"/>
          </a:p>
          <a:p>
            <a:pPr marL="171450" indent="-171450">
              <a:buFont typeface="Arial" panose="020B0604020202020204" pitchFamily="34" charset="0"/>
              <a:buChar char="•"/>
            </a:pPr>
            <a:endParaRPr lang="de-DE" sz="1200" dirty="0"/>
          </a:p>
          <a:p>
            <a:pPr marL="171450" indent="-171450">
              <a:buFont typeface="Arial" panose="020B0604020202020204" pitchFamily="34" charset="0"/>
              <a:buChar char="•"/>
            </a:pPr>
            <a:r>
              <a:rPr lang="de-DE" sz="1200" dirty="0"/>
              <a:t>Welche Ideen / Vorschläge sind ihnen bekannt um die Flexibilität noch zu erhöhen.</a:t>
            </a:r>
          </a:p>
          <a:p>
            <a:pPr marL="171450" indent="-171450">
              <a:buFont typeface="Arial" panose="020B0604020202020204" pitchFamily="34" charset="0"/>
              <a:buChar char="•"/>
            </a:pPr>
            <a:endParaRPr lang="de-DE" sz="1200" dirty="0"/>
          </a:p>
          <a:p>
            <a:pPr marL="171450" indent="-171450">
              <a:buFont typeface="Arial" panose="020B0604020202020204" pitchFamily="34" charset="0"/>
              <a:buChar char="•"/>
            </a:pPr>
            <a:endParaRPr lang="de-DE" sz="1200" dirty="0"/>
          </a:p>
          <a:p>
            <a:pPr marL="171450" indent="-171450">
              <a:buFont typeface="Arial" panose="020B0604020202020204" pitchFamily="34" charset="0"/>
              <a:buChar char="•"/>
            </a:pPr>
            <a:r>
              <a:rPr lang="de-DE" sz="1200" dirty="0"/>
              <a:t>In den drei Gebieten Mitarbeiter / Infrastruktur / Globales Netzwerk</a:t>
            </a:r>
          </a:p>
          <a:p>
            <a:pPr marL="171450" indent="-171450">
              <a:buFont typeface="Arial" panose="020B0604020202020204" pitchFamily="34" charset="0"/>
              <a:buChar char="•"/>
            </a:pPr>
            <a:endParaRPr lang="de-DE" sz="1200" dirty="0"/>
          </a:p>
          <a:p>
            <a:endParaRPr lang="de-DE" sz="1200" dirty="0"/>
          </a:p>
        </p:txBody>
      </p:sp>
    </p:spTree>
    <p:extLst>
      <p:ext uri="{BB962C8B-B14F-4D97-AF65-F5344CB8AC3E}">
        <p14:creationId xmlns:p14="http://schemas.microsoft.com/office/powerpoint/2010/main" val="3570403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0572" y="443224"/>
            <a:ext cx="1907704"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2" name="Titel 1"/>
          <p:cNvSpPr>
            <a:spLocks noGrp="1"/>
          </p:cNvSpPr>
          <p:nvPr>
            <p:ph type="title"/>
          </p:nvPr>
        </p:nvSpPr>
        <p:spPr>
          <a:xfrm>
            <a:off x="0" y="432000"/>
            <a:ext cx="9144000" cy="587288"/>
          </a:xfrm>
        </p:spPr>
        <p:txBody>
          <a:bodyPr>
            <a:normAutofit/>
          </a:bodyPr>
          <a:lstStyle/>
          <a:p>
            <a:r>
              <a:rPr lang="de-DE" altLang="de-DE" sz="2400" dirty="0"/>
              <a:t>Flexibles LEAN</a:t>
            </a:r>
            <a:endParaRPr lang="en-US" sz="2400" dirty="0"/>
          </a:p>
        </p:txBody>
      </p:sp>
      <p:sp>
        <p:nvSpPr>
          <p:cNvPr id="3" name="Datumsplatzhalter 2"/>
          <p:cNvSpPr>
            <a:spLocks noGrp="1"/>
          </p:cNvSpPr>
          <p:nvPr>
            <p:ph type="dt" sz="half" idx="10"/>
          </p:nvPr>
        </p:nvSpPr>
        <p:spPr/>
        <p:txBody>
          <a:bodyPr/>
          <a:lstStyle/>
          <a:p>
            <a:fld id="{B84EC04B-52A3-43FF-8A0C-18BBD3917C92}" type="datetime1">
              <a:rPr lang="en-US" smtClean="0">
                <a:solidFill>
                  <a:srgbClr val="000000">
                    <a:tint val="75000"/>
                  </a:srgbClr>
                </a:solidFill>
              </a:rPr>
              <a:pPr/>
              <a:t>1/26/2018</a:t>
            </a:fld>
            <a:endParaRPr lang="en-US" dirty="0">
              <a:solidFill>
                <a:srgbClr val="000000">
                  <a:tint val="75000"/>
                </a:srgbClr>
              </a:solidFill>
            </a:endParaRPr>
          </a:p>
        </p:txBody>
      </p:sp>
      <p:sp>
        <p:nvSpPr>
          <p:cNvPr id="4" name="Fußzeilenplatzhalter 3"/>
          <p:cNvSpPr>
            <a:spLocks noGrp="1"/>
          </p:cNvSpPr>
          <p:nvPr>
            <p:ph type="ftr" sz="quarter" idx="11"/>
          </p:nvPr>
        </p:nvSpPr>
        <p:spPr/>
        <p:txBody>
          <a:bodyPr/>
          <a:lstStyle/>
          <a:p>
            <a:r>
              <a:rPr lang="de-DE" dirty="0">
                <a:solidFill>
                  <a:srgbClr val="000000">
                    <a:tint val="75000"/>
                  </a:srgbClr>
                </a:solidFill>
              </a:rPr>
              <a:t>ASM Assembly Systems</a:t>
            </a:r>
            <a:endParaRPr lang="en-US" dirty="0">
              <a:solidFill>
                <a:srgbClr val="000000">
                  <a:tint val="75000"/>
                </a:srgbClr>
              </a:solidFill>
            </a:endParaRPr>
          </a:p>
        </p:txBody>
      </p:sp>
      <p:sp>
        <p:nvSpPr>
          <p:cNvPr id="5" name="Foliennummernplatzhalter 4"/>
          <p:cNvSpPr>
            <a:spLocks noGrp="1"/>
          </p:cNvSpPr>
          <p:nvPr>
            <p:ph type="sldNum" sz="quarter" idx="12"/>
          </p:nvPr>
        </p:nvSpPr>
        <p:spPr/>
        <p:txBody>
          <a:bodyPr/>
          <a:lstStyle/>
          <a:p>
            <a:r>
              <a:rPr lang="en-US">
                <a:solidFill>
                  <a:srgbClr val="000000">
                    <a:tint val="75000"/>
                  </a:srgbClr>
                </a:solidFill>
              </a:rPr>
              <a:t>Page </a:t>
            </a:r>
            <a:fld id="{9204330F-C5AD-4AC0-88A8-9CB1F8F7EBD6}" type="slidenum">
              <a:rPr lang="en-US" smtClean="0">
                <a:solidFill>
                  <a:srgbClr val="000000">
                    <a:tint val="75000"/>
                  </a:srgbClr>
                </a:solidFill>
              </a:rPr>
              <a:pPr/>
              <a:t>5</a:t>
            </a:fld>
            <a:endParaRPr lang="en-US" dirty="0">
              <a:solidFill>
                <a:srgbClr val="000000">
                  <a:tint val="75000"/>
                </a:srgbClr>
              </a:solidFill>
            </a:endParaRPr>
          </a:p>
        </p:txBody>
      </p:sp>
      <p:sp>
        <p:nvSpPr>
          <p:cNvPr id="7" name="Textfeld 6"/>
          <p:cNvSpPr txBox="1"/>
          <p:nvPr/>
        </p:nvSpPr>
        <p:spPr>
          <a:xfrm>
            <a:off x="323850" y="1166813"/>
            <a:ext cx="8569325" cy="646331"/>
          </a:xfrm>
          <a:prstGeom prst="rect">
            <a:avLst/>
          </a:prstGeom>
          <a:noFill/>
        </p:spPr>
        <p:txBody>
          <a:bodyPr wrap="square" rtlCol="0">
            <a:spAutoFit/>
          </a:bodyPr>
          <a:lstStyle/>
          <a:p>
            <a:r>
              <a:rPr lang="de-DE" sz="1200" dirty="0"/>
              <a:t>Anhang:</a:t>
            </a:r>
          </a:p>
          <a:p>
            <a:endParaRPr lang="de-DE" sz="1200" dirty="0"/>
          </a:p>
          <a:p>
            <a:endParaRPr lang="de-DE" sz="1200" dirty="0"/>
          </a:p>
        </p:txBody>
      </p:sp>
      <p:graphicFrame>
        <p:nvGraphicFramePr>
          <p:cNvPr id="10" name="Objekt 9"/>
          <p:cNvGraphicFramePr>
            <a:graphicFrameLocks noChangeAspect="1"/>
          </p:cNvGraphicFramePr>
          <p:nvPr>
            <p:extLst>
              <p:ext uri="{D42A27DB-BD31-4B8C-83A1-F6EECF244321}">
                <p14:modId xmlns:p14="http://schemas.microsoft.com/office/powerpoint/2010/main" val="1677225391"/>
              </p:ext>
            </p:extLst>
          </p:nvPr>
        </p:nvGraphicFramePr>
        <p:xfrm>
          <a:off x="507224" y="1671650"/>
          <a:ext cx="914400" cy="792163"/>
        </p:xfrm>
        <a:graphic>
          <a:graphicData uri="http://schemas.openxmlformats.org/presentationml/2006/ole">
            <mc:AlternateContent xmlns:mc="http://schemas.openxmlformats.org/markup-compatibility/2006">
              <mc:Choice xmlns:v="urn:schemas-microsoft-com:vml" Requires="v">
                <p:oleObj spid="_x0000_s15379" name="Acrobat Document" showAsIcon="1" r:id="rId3" imgW="914400" imgH="792360" progId="Acrobat.Document.11">
                  <p:embed/>
                </p:oleObj>
              </mc:Choice>
              <mc:Fallback>
                <p:oleObj name="Acrobat Document" showAsIcon="1" r:id="rId3" imgW="914400" imgH="792360" progId="Acrobat.Document.11">
                  <p:embed/>
                  <p:pic>
                    <p:nvPicPr>
                      <p:cNvPr id="0" name=""/>
                      <p:cNvPicPr/>
                      <p:nvPr/>
                    </p:nvPicPr>
                    <p:blipFill>
                      <a:blip r:embed="rId4"/>
                      <a:stretch>
                        <a:fillRect/>
                      </a:stretch>
                    </p:blipFill>
                    <p:spPr>
                      <a:xfrm>
                        <a:off x="507224" y="1671650"/>
                        <a:ext cx="914400" cy="792163"/>
                      </a:xfrm>
                      <a:prstGeom prst="rect">
                        <a:avLst/>
                      </a:prstGeom>
                    </p:spPr>
                  </p:pic>
                </p:oleObj>
              </mc:Fallback>
            </mc:AlternateContent>
          </a:graphicData>
        </a:graphic>
      </p:graphicFrame>
      <p:graphicFrame>
        <p:nvGraphicFramePr>
          <p:cNvPr id="13" name="Objekt 12"/>
          <p:cNvGraphicFramePr>
            <a:graphicFrameLocks noChangeAspect="1"/>
          </p:cNvGraphicFramePr>
          <p:nvPr>
            <p:extLst>
              <p:ext uri="{D42A27DB-BD31-4B8C-83A1-F6EECF244321}">
                <p14:modId xmlns:p14="http://schemas.microsoft.com/office/powerpoint/2010/main" val="4004331059"/>
              </p:ext>
            </p:extLst>
          </p:nvPr>
        </p:nvGraphicFramePr>
        <p:xfrm>
          <a:off x="6151432" y="1671648"/>
          <a:ext cx="914400" cy="792163"/>
        </p:xfrm>
        <a:graphic>
          <a:graphicData uri="http://schemas.openxmlformats.org/presentationml/2006/ole">
            <mc:AlternateContent xmlns:mc="http://schemas.openxmlformats.org/markup-compatibility/2006">
              <mc:Choice xmlns:v="urn:schemas-microsoft-com:vml" Requires="v">
                <p:oleObj spid="_x0000_s15380" name="Acrobat Document" showAsIcon="1" r:id="rId5" imgW="914400" imgH="792360" progId="Acrobat.Document.11">
                  <p:embed/>
                </p:oleObj>
              </mc:Choice>
              <mc:Fallback>
                <p:oleObj name="Acrobat Document" showAsIcon="1" r:id="rId5" imgW="914400" imgH="792360" progId="Acrobat.Document.11">
                  <p:embed/>
                  <p:pic>
                    <p:nvPicPr>
                      <p:cNvPr id="0" name=""/>
                      <p:cNvPicPr/>
                      <p:nvPr/>
                    </p:nvPicPr>
                    <p:blipFill>
                      <a:blip r:embed="rId6"/>
                      <a:stretch>
                        <a:fillRect/>
                      </a:stretch>
                    </p:blipFill>
                    <p:spPr>
                      <a:xfrm>
                        <a:off x="6151432" y="1671648"/>
                        <a:ext cx="914400" cy="792163"/>
                      </a:xfrm>
                      <a:prstGeom prst="rect">
                        <a:avLst/>
                      </a:prstGeom>
                    </p:spPr>
                  </p:pic>
                </p:oleObj>
              </mc:Fallback>
            </mc:AlternateContent>
          </a:graphicData>
        </a:graphic>
      </p:graphicFrame>
      <p:graphicFrame>
        <p:nvGraphicFramePr>
          <p:cNvPr id="16" name="Objekt 15"/>
          <p:cNvGraphicFramePr>
            <a:graphicFrameLocks noChangeAspect="1"/>
          </p:cNvGraphicFramePr>
          <p:nvPr>
            <p:extLst>
              <p:ext uri="{D42A27DB-BD31-4B8C-83A1-F6EECF244321}">
                <p14:modId xmlns:p14="http://schemas.microsoft.com/office/powerpoint/2010/main" val="332933029"/>
              </p:ext>
            </p:extLst>
          </p:nvPr>
        </p:nvGraphicFramePr>
        <p:xfrm>
          <a:off x="7431088" y="1828800"/>
          <a:ext cx="1177925" cy="439738"/>
        </p:xfrm>
        <a:graphic>
          <a:graphicData uri="http://schemas.openxmlformats.org/presentationml/2006/ole">
            <mc:AlternateContent xmlns:mc="http://schemas.openxmlformats.org/markup-compatibility/2006">
              <mc:Choice xmlns:v="urn:schemas-microsoft-com:vml" Requires="v">
                <p:oleObj spid="_x0000_s15381" name="Objekt-Manager-Shellobjekt" showAsIcon="1" r:id="rId7" imgW="1177200" imgH="439560" progId="Package">
                  <p:embed/>
                </p:oleObj>
              </mc:Choice>
              <mc:Fallback>
                <p:oleObj name="Objekt-Manager-Shellobjekt" showAsIcon="1" r:id="rId7" imgW="1177200" imgH="439560" progId="Package">
                  <p:embed/>
                  <p:pic>
                    <p:nvPicPr>
                      <p:cNvPr id="0" name=""/>
                      <p:cNvPicPr/>
                      <p:nvPr/>
                    </p:nvPicPr>
                    <p:blipFill>
                      <a:blip r:embed="rId8"/>
                      <a:stretch>
                        <a:fillRect/>
                      </a:stretch>
                    </p:blipFill>
                    <p:spPr>
                      <a:xfrm>
                        <a:off x="7431088" y="1828800"/>
                        <a:ext cx="1177925" cy="439738"/>
                      </a:xfrm>
                      <a:prstGeom prst="rect">
                        <a:avLst/>
                      </a:prstGeom>
                    </p:spPr>
                  </p:pic>
                </p:oleObj>
              </mc:Fallback>
            </mc:AlternateContent>
          </a:graphicData>
        </a:graphic>
      </p:graphicFrame>
      <p:graphicFrame>
        <p:nvGraphicFramePr>
          <p:cNvPr id="9" name="Objekt 8"/>
          <p:cNvGraphicFramePr>
            <a:graphicFrameLocks noChangeAspect="1"/>
          </p:cNvGraphicFramePr>
          <p:nvPr>
            <p:extLst>
              <p:ext uri="{D42A27DB-BD31-4B8C-83A1-F6EECF244321}">
                <p14:modId xmlns:p14="http://schemas.microsoft.com/office/powerpoint/2010/main" val="1832863351"/>
              </p:ext>
            </p:extLst>
          </p:nvPr>
        </p:nvGraphicFramePr>
        <p:xfrm>
          <a:off x="2402736" y="1722185"/>
          <a:ext cx="914400" cy="792163"/>
        </p:xfrm>
        <a:graphic>
          <a:graphicData uri="http://schemas.openxmlformats.org/presentationml/2006/ole">
            <mc:AlternateContent xmlns:mc="http://schemas.openxmlformats.org/markup-compatibility/2006">
              <mc:Choice xmlns:v="urn:schemas-microsoft-com:vml" Requires="v">
                <p:oleObj spid="_x0000_s15382" name="Acrobat Document" showAsIcon="1" r:id="rId9" imgW="914400" imgH="792360" progId="Acrobat.Document.11">
                  <p:embed/>
                </p:oleObj>
              </mc:Choice>
              <mc:Fallback>
                <p:oleObj name="Acrobat Document" showAsIcon="1" r:id="rId9" imgW="914400" imgH="792360" progId="Acrobat.Document.11">
                  <p:embed/>
                  <p:pic>
                    <p:nvPicPr>
                      <p:cNvPr id="0" name=""/>
                      <p:cNvPicPr/>
                      <p:nvPr/>
                    </p:nvPicPr>
                    <p:blipFill>
                      <a:blip r:embed="rId10"/>
                      <a:stretch>
                        <a:fillRect/>
                      </a:stretch>
                    </p:blipFill>
                    <p:spPr>
                      <a:xfrm>
                        <a:off x="2402736" y="1722185"/>
                        <a:ext cx="914400" cy="792163"/>
                      </a:xfrm>
                      <a:prstGeom prst="rect">
                        <a:avLst/>
                      </a:prstGeom>
                    </p:spPr>
                  </p:pic>
                </p:oleObj>
              </mc:Fallback>
            </mc:AlternateContent>
          </a:graphicData>
        </a:graphic>
      </p:graphicFrame>
      <p:graphicFrame>
        <p:nvGraphicFramePr>
          <p:cNvPr id="15" name="Objekt 14"/>
          <p:cNvGraphicFramePr>
            <a:graphicFrameLocks noChangeAspect="1"/>
          </p:cNvGraphicFramePr>
          <p:nvPr>
            <p:extLst>
              <p:ext uri="{D42A27DB-BD31-4B8C-83A1-F6EECF244321}">
                <p14:modId xmlns:p14="http://schemas.microsoft.com/office/powerpoint/2010/main" val="2717144811"/>
              </p:ext>
            </p:extLst>
          </p:nvPr>
        </p:nvGraphicFramePr>
        <p:xfrm>
          <a:off x="4114800" y="1687852"/>
          <a:ext cx="914400" cy="792163"/>
        </p:xfrm>
        <a:graphic>
          <a:graphicData uri="http://schemas.openxmlformats.org/presentationml/2006/ole">
            <mc:AlternateContent xmlns:mc="http://schemas.openxmlformats.org/markup-compatibility/2006">
              <mc:Choice xmlns:v="urn:schemas-microsoft-com:vml" Requires="v">
                <p:oleObj spid="_x0000_s15383" name="Acrobat Document" showAsIcon="1" r:id="rId11" imgW="914400" imgH="792360" progId="Acrobat.Document.11">
                  <p:embed/>
                </p:oleObj>
              </mc:Choice>
              <mc:Fallback>
                <p:oleObj name="Acrobat Document" showAsIcon="1" r:id="rId11" imgW="914400" imgH="792360" progId="Acrobat.Document.11">
                  <p:embed/>
                  <p:pic>
                    <p:nvPicPr>
                      <p:cNvPr id="0" name=""/>
                      <p:cNvPicPr/>
                      <p:nvPr/>
                    </p:nvPicPr>
                    <p:blipFill>
                      <a:blip r:embed="rId12"/>
                      <a:stretch>
                        <a:fillRect/>
                      </a:stretch>
                    </p:blipFill>
                    <p:spPr>
                      <a:xfrm>
                        <a:off x="4114800" y="16878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3304919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10.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12.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18.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20.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26.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28.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3.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34.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3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36.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3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5.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CDT_DESIGN_NAME" val="Text (A+D 2008)"/>
  <p:tag name="CDT_SLISHP1" val="cdtText Box 86:130,375-0-409,625-136"/>
  <p:tag name="CDT_SLISHP2" val="cdtRectangle 85:0-0-540-136"/>
  <p:tag name="CDT_SLISHP3" val="cdtRectangle 3:39,625-22,625-76,5-697,375"/>
  <p:tag name="CDT_SLISHP4" val="cdtText Box 9:504,375-360-13,75-360"/>
  <p:tag name="CDT_SLISHP5" val="cdtRectangle 42:130,375-150,25-362,75-541,125"/>
  <p:tag name="CDT_SLISHP6" val="cdtText Box 82:519,5-524,375-20,5-195,625"/>
  <p:tag name="CDT_SLISHP7" val="cdtFreeform 80:17-603-14,125-88,125"/>
  <p:tag name="CDT_SLISHP8" val="cdtText Box 101:0-138,875-14,75-442,125"/>
  <p:tag name="CDT_SLISHP9" val="cdtText Box 81:519,625-0-20,375-521,625"/>
  <p:tag name="CDT_SLISHP10" val="cdtRectangle 162:39,625-22,625-76,5-697,375"/>
  <p:tag name="CDT_SLISHP11" val="cdtDesignTags:0-0-0-0"/>
  <p:tag name="CDT_PROT" val="3"/>
  <p:tag name="CDT_PROT_TOP" val="0"/>
  <p:tag name="CDT_PROT_LEFT" val="0"/>
  <p:tag name="CDT_PROT_WIDTH" val="0"/>
  <p:tag name="CDT_PROT_HEIGHT" val="0"/>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Text (A+D 2008)"/>
  <p:tag name="CDT_MASTER_NAME" val="SlideMaster Text (A+D 2008)"/>
  <p:tag name="CDT_MASTERSHAPE1" val="753750:130,375-0-409,625-136"/>
  <p:tag name="CDT_MASTERSHAPE2" val="753749:0-0-540-136"/>
  <p:tag name="CDT_MASTERSHAPE3" val="753667:39,625-22,625-76,5-697,375"/>
  <p:tag name="CDT_MASTERSHAPE4" val="753673:524,75-467,75-15,25-252,25"/>
  <p:tag name="CDT_MASTERSHAPE5" val="753706:130,375-150,25-374-541,125"/>
  <p:tag name="CDT_MASTERSHAPE6" val="753746:504,375-467,75-17,625-252,25"/>
  <p:tag name="CDT_MASTERSHAPE7" val="753744:17-603-14,125-88,125"/>
  <p:tag name="CDT_MASTERSHAPE8" val="753765:0-138,875-14,75-442,125"/>
  <p:tag name="CDT_MASTERSHAPE9" val="753745:524,75-0-15,25-467,75"/>
  <p:tag name="CDT_MASTERSHAPE10" val="753826:39,625-22,625-76,5-697,375"/>
  <p:tag name="CDT_MASTERSHAPE11" val="753827:0-0-0-0"/>
  <p:tag name="CDT_MASTERSHAPE12" val="753838:504,375-0-17,625-467,75"/>
  <p:tag name="CDT_MASTERSHAPE13" val="753874:0-0-0-0"/>
  <p:tag name="CDT_LINEUNVISIBLE" val="True"/>
</p:tagLst>
</file>

<file path=ppt/theme/theme1.xml><?xml version="1.0" encoding="utf-8"?>
<a:theme xmlns:a="http://schemas.openxmlformats.org/drawingml/2006/main" name="Benutzerdefiniertes Design">
  <a:themeElements>
    <a:clrScheme name="ASM_2016">
      <a:dk1>
        <a:srgbClr val="000000"/>
      </a:dk1>
      <a:lt1>
        <a:sysClr val="window" lastClr="FFFFFF"/>
      </a:lt1>
      <a:dk2>
        <a:srgbClr val="97A0A5"/>
      </a:dk2>
      <a:lt2>
        <a:srgbClr val="DEDFE1"/>
      </a:lt2>
      <a:accent1>
        <a:srgbClr val="AA312C"/>
      </a:accent1>
      <a:accent2>
        <a:srgbClr val="97A0A5"/>
      </a:accent2>
      <a:accent3>
        <a:srgbClr val="52575A"/>
      </a:accent3>
      <a:accent4>
        <a:srgbClr val="DEDFE1"/>
      </a:accent4>
      <a:accent5>
        <a:srgbClr val="00223D"/>
      </a:accent5>
      <a:accent6>
        <a:srgbClr val="A3D400"/>
      </a:accent6>
      <a:hlink>
        <a:srgbClr val="AA312C"/>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ASM16by9">
  <a:themeElements>
    <a:clrScheme name="Benutzerdefiniert 5">
      <a:dk1>
        <a:srgbClr val="000000"/>
      </a:dk1>
      <a:lt1>
        <a:srgbClr val="FFFFFF"/>
      </a:lt1>
      <a:dk2>
        <a:srgbClr val="97A0A5"/>
      </a:dk2>
      <a:lt2>
        <a:srgbClr val="DEDFE1"/>
      </a:lt2>
      <a:accent1>
        <a:srgbClr val="AA312C"/>
      </a:accent1>
      <a:accent2>
        <a:srgbClr val="97A0A5"/>
      </a:accent2>
      <a:accent3>
        <a:srgbClr val="52575A"/>
      </a:accent3>
      <a:accent4>
        <a:srgbClr val="DEDFE1"/>
      </a:accent4>
      <a:accent5>
        <a:srgbClr val="003C64"/>
      </a:accent5>
      <a:accent6>
        <a:srgbClr val="99CA0A"/>
      </a:accent6>
      <a:hlink>
        <a:srgbClr val="0070C0"/>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bwMode="auto">
        <a:solidFill>
          <a:schemeClr val="hlink"/>
        </a:solidFill>
        <a:ln w="12700" cap="flat" cmpd="sng" algn="ctr">
          <a:solidFill>
            <a:schemeClr val="accent3"/>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dirty="0" err="1" smtClean="0"/>
        </a:defPPr>
      </a:lstStyle>
    </a:txDef>
  </a:objectDefaults>
  <a:extraClrSchemeLst>
    <a:extraClrScheme>
      <a:clrScheme name="SIPLACE Master 2010 1">
        <a:dk1>
          <a:srgbClr val="000000"/>
        </a:dk1>
        <a:lt1>
          <a:srgbClr val="FFFFFF"/>
        </a:lt1>
        <a:dk2>
          <a:srgbClr val="97A0A5"/>
        </a:dk2>
        <a:lt2>
          <a:srgbClr val="DEDFE1"/>
        </a:lt2>
        <a:accent1>
          <a:srgbClr val="A3D400"/>
        </a:accent1>
        <a:accent2>
          <a:srgbClr val="656B6F"/>
        </a:accent2>
        <a:accent3>
          <a:srgbClr val="FFFFFF"/>
        </a:accent3>
        <a:accent4>
          <a:srgbClr val="000000"/>
        </a:accent4>
        <a:accent5>
          <a:srgbClr val="CEE6AA"/>
        </a:accent5>
        <a:accent6>
          <a:srgbClr val="5B6064"/>
        </a:accent6>
        <a:hlink>
          <a:srgbClr val="AA312C"/>
        </a:hlink>
        <a:folHlink>
          <a:srgbClr val="00223D"/>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placeMaster_Stand121011">
  <a:themeElements>
    <a:clrScheme name="ASM">
      <a:dk1>
        <a:srgbClr val="000000"/>
      </a:dk1>
      <a:lt1>
        <a:srgbClr val="FFFFFF"/>
      </a:lt1>
      <a:dk2>
        <a:srgbClr val="97A0A5"/>
      </a:dk2>
      <a:lt2>
        <a:srgbClr val="DEDFE1"/>
      </a:lt2>
      <a:accent1>
        <a:srgbClr val="AA312C"/>
      </a:accent1>
      <a:accent2>
        <a:srgbClr val="97A0A5"/>
      </a:accent2>
      <a:accent3>
        <a:srgbClr val="52575A"/>
      </a:accent3>
      <a:accent4>
        <a:srgbClr val="DEDFE1"/>
      </a:accent4>
      <a:accent5>
        <a:srgbClr val="003C64"/>
      </a:accent5>
      <a:accent6>
        <a:srgbClr val="99CA0A"/>
      </a:accent6>
      <a:hlink>
        <a:srgbClr val="000000"/>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bwMode="auto">
        <a:solidFill>
          <a:schemeClr val="hlink"/>
        </a:solidFill>
        <a:ln w="12700" cap="flat" cmpd="sng" algn="ctr">
          <a:solidFill>
            <a:schemeClr val="accent3"/>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dirty="0" err="1" smtClean="0"/>
        </a:defPPr>
      </a:lstStyle>
    </a:txDef>
  </a:objectDefaults>
  <a:extraClrSchemeLst>
    <a:extraClrScheme>
      <a:clrScheme name="SIPLACE Master 2010 1">
        <a:dk1>
          <a:srgbClr val="000000"/>
        </a:dk1>
        <a:lt1>
          <a:srgbClr val="FFFFFF"/>
        </a:lt1>
        <a:dk2>
          <a:srgbClr val="97A0A5"/>
        </a:dk2>
        <a:lt2>
          <a:srgbClr val="DEDFE1"/>
        </a:lt2>
        <a:accent1>
          <a:srgbClr val="A3D400"/>
        </a:accent1>
        <a:accent2>
          <a:srgbClr val="656B6F"/>
        </a:accent2>
        <a:accent3>
          <a:srgbClr val="FFFFFF"/>
        </a:accent3>
        <a:accent4>
          <a:srgbClr val="000000"/>
        </a:accent4>
        <a:accent5>
          <a:srgbClr val="CEE6AA"/>
        </a:accent5>
        <a:accent6>
          <a:srgbClr val="5B6064"/>
        </a:accent6>
        <a:hlink>
          <a:srgbClr val="AA312C"/>
        </a:hlink>
        <a:folHlink>
          <a:srgbClr val="00223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ASM16by9">
  <a:themeElements>
    <a:clrScheme name="Benutzerdefiniert 5">
      <a:dk1>
        <a:srgbClr val="000000"/>
      </a:dk1>
      <a:lt1>
        <a:srgbClr val="FFFFFF"/>
      </a:lt1>
      <a:dk2>
        <a:srgbClr val="97A0A5"/>
      </a:dk2>
      <a:lt2>
        <a:srgbClr val="DEDFE1"/>
      </a:lt2>
      <a:accent1>
        <a:srgbClr val="AA312C"/>
      </a:accent1>
      <a:accent2>
        <a:srgbClr val="97A0A5"/>
      </a:accent2>
      <a:accent3>
        <a:srgbClr val="52575A"/>
      </a:accent3>
      <a:accent4>
        <a:srgbClr val="DEDFE1"/>
      </a:accent4>
      <a:accent5>
        <a:srgbClr val="003C64"/>
      </a:accent5>
      <a:accent6>
        <a:srgbClr val="99CA0A"/>
      </a:accent6>
      <a:hlink>
        <a:srgbClr val="0070C0"/>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bwMode="auto">
        <a:solidFill>
          <a:schemeClr val="hlink"/>
        </a:solidFill>
        <a:ln w="12700" cap="flat" cmpd="sng" algn="ctr">
          <a:solidFill>
            <a:schemeClr val="accent3"/>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dirty="0" err="1" smtClean="0"/>
        </a:defPPr>
      </a:lstStyle>
    </a:txDef>
  </a:objectDefaults>
  <a:extraClrSchemeLst>
    <a:extraClrScheme>
      <a:clrScheme name="SIPLACE Master 2010 1">
        <a:dk1>
          <a:srgbClr val="000000"/>
        </a:dk1>
        <a:lt1>
          <a:srgbClr val="FFFFFF"/>
        </a:lt1>
        <a:dk2>
          <a:srgbClr val="97A0A5"/>
        </a:dk2>
        <a:lt2>
          <a:srgbClr val="DEDFE1"/>
        </a:lt2>
        <a:accent1>
          <a:srgbClr val="A3D400"/>
        </a:accent1>
        <a:accent2>
          <a:srgbClr val="656B6F"/>
        </a:accent2>
        <a:accent3>
          <a:srgbClr val="FFFFFF"/>
        </a:accent3>
        <a:accent4>
          <a:srgbClr val="000000"/>
        </a:accent4>
        <a:accent5>
          <a:srgbClr val="CEE6AA"/>
        </a:accent5>
        <a:accent6>
          <a:srgbClr val="5B6064"/>
        </a:accent6>
        <a:hlink>
          <a:srgbClr val="AA312C"/>
        </a:hlink>
        <a:folHlink>
          <a:srgbClr val="00223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ASM16by9">
  <a:themeElements>
    <a:clrScheme name="Benutzerdefiniert 5">
      <a:dk1>
        <a:srgbClr val="000000"/>
      </a:dk1>
      <a:lt1>
        <a:srgbClr val="FFFFFF"/>
      </a:lt1>
      <a:dk2>
        <a:srgbClr val="97A0A5"/>
      </a:dk2>
      <a:lt2>
        <a:srgbClr val="DEDFE1"/>
      </a:lt2>
      <a:accent1>
        <a:srgbClr val="AA312C"/>
      </a:accent1>
      <a:accent2>
        <a:srgbClr val="97A0A5"/>
      </a:accent2>
      <a:accent3>
        <a:srgbClr val="52575A"/>
      </a:accent3>
      <a:accent4>
        <a:srgbClr val="DEDFE1"/>
      </a:accent4>
      <a:accent5>
        <a:srgbClr val="003C64"/>
      </a:accent5>
      <a:accent6>
        <a:srgbClr val="99CA0A"/>
      </a:accent6>
      <a:hlink>
        <a:srgbClr val="0070C0"/>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bwMode="auto">
        <a:solidFill>
          <a:schemeClr val="hlink"/>
        </a:solidFill>
        <a:ln w="12700" cap="flat" cmpd="sng" algn="ctr">
          <a:solidFill>
            <a:schemeClr val="accent3"/>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dirty="0" err="1" smtClean="0"/>
        </a:defPPr>
      </a:lstStyle>
    </a:txDef>
  </a:objectDefaults>
  <a:extraClrSchemeLst>
    <a:extraClrScheme>
      <a:clrScheme name="SIPLACE Master 2010 1">
        <a:dk1>
          <a:srgbClr val="000000"/>
        </a:dk1>
        <a:lt1>
          <a:srgbClr val="FFFFFF"/>
        </a:lt1>
        <a:dk2>
          <a:srgbClr val="97A0A5"/>
        </a:dk2>
        <a:lt2>
          <a:srgbClr val="DEDFE1"/>
        </a:lt2>
        <a:accent1>
          <a:srgbClr val="A3D400"/>
        </a:accent1>
        <a:accent2>
          <a:srgbClr val="656B6F"/>
        </a:accent2>
        <a:accent3>
          <a:srgbClr val="FFFFFF"/>
        </a:accent3>
        <a:accent4>
          <a:srgbClr val="000000"/>
        </a:accent4>
        <a:accent5>
          <a:srgbClr val="CEE6AA"/>
        </a:accent5>
        <a:accent6>
          <a:srgbClr val="5B6064"/>
        </a:accent6>
        <a:hlink>
          <a:srgbClr val="AA312C"/>
        </a:hlink>
        <a:folHlink>
          <a:srgbClr val="00223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ASM16by9">
  <a:themeElements>
    <a:clrScheme name="Benutzerdefiniert 5">
      <a:dk1>
        <a:srgbClr val="000000"/>
      </a:dk1>
      <a:lt1>
        <a:srgbClr val="FFFFFF"/>
      </a:lt1>
      <a:dk2>
        <a:srgbClr val="97A0A5"/>
      </a:dk2>
      <a:lt2>
        <a:srgbClr val="DEDFE1"/>
      </a:lt2>
      <a:accent1>
        <a:srgbClr val="AA312C"/>
      </a:accent1>
      <a:accent2>
        <a:srgbClr val="97A0A5"/>
      </a:accent2>
      <a:accent3>
        <a:srgbClr val="52575A"/>
      </a:accent3>
      <a:accent4>
        <a:srgbClr val="DEDFE1"/>
      </a:accent4>
      <a:accent5>
        <a:srgbClr val="003C64"/>
      </a:accent5>
      <a:accent6>
        <a:srgbClr val="99CA0A"/>
      </a:accent6>
      <a:hlink>
        <a:srgbClr val="0070C0"/>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solidFill>
            <a:schemeClr val="tx2"/>
          </a:solidFill>
          <a:prstDash val="solid"/>
          <a:round/>
          <a:headEnd type="none" w="med" len="med"/>
          <a:tailEnd type="none" w="med" len="med"/>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bwMode="auto">
        <a:solidFill>
          <a:schemeClr val="hlink"/>
        </a:solidFill>
        <a:ln w="12700" cap="flat" cmpd="sng" algn="ctr">
          <a:solidFill>
            <a:schemeClr val="accent3"/>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dirty="0" err="1" smtClean="0"/>
        </a:defPPr>
      </a:lstStyle>
    </a:txDef>
  </a:objectDefaults>
  <a:extraClrSchemeLst>
    <a:extraClrScheme>
      <a:clrScheme name="SIPLACE Master 2010 1">
        <a:dk1>
          <a:srgbClr val="000000"/>
        </a:dk1>
        <a:lt1>
          <a:srgbClr val="FFFFFF"/>
        </a:lt1>
        <a:dk2>
          <a:srgbClr val="97A0A5"/>
        </a:dk2>
        <a:lt2>
          <a:srgbClr val="DEDFE1"/>
        </a:lt2>
        <a:accent1>
          <a:srgbClr val="A3D400"/>
        </a:accent1>
        <a:accent2>
          <a:srgbClr val="656B6F"/>
        </a:accent2>
        <a:accent3>
          <a:srgbClr val="FFFFFF"/>
        </a:accent3>
        <a:accent4>
          <a:srgbClr val="000000"/>
        </a:accent4>
        <a:accent5>
          <a:srgbClr val="CEE6AA"/>
        </a:accent5>
        <a:accent6>
          <a:srgbClr val="5B6064"/>
        </a:accent6>
        <a:hlink>
          <a:srgbClr val="AA312C"/>
        </a:hlink>
        <a:folHlink>
          <a:srgbClr val="00223D"/>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Benutzerdefiniertes Design">
  <a:themeElements>
    <a:clrScheme name="ASM_2016">
      <a:dk1>
        <a:srgbClr val="000000"/>
      </a:dk1>
      <a:lt1>
        <a:sysClr val="window" lastClr="FFFFFF"/>
      </a:lt1>
      <a:dk2>
        <a:srgbClr val="97A0A5"/>
      </a:dk2>
      <a:lt2>
        <a:srgbClr val="DEDFE1"/>
      </a:lt2>
      <a:accent1>
        <a:srgbClr val="AA312C"/>
      </a:accent1>
      <a:accent2>
        <a:srgbClr val="97A0A5"/>
      </a:accent2>
      <a:accent3>
        <a:srgbClr val="52575A"/>
      </a:accent3>
      <a:accent4>
        <a:srgbClr val="DEDFE1"/>
      </a:accent4>
      <a:accent5>
        <a:srgbClr val="00223D"/>
      </a:accent5>
      <a:accent6>
        <a:srgbClr val="A3D400"/>
      </a:accent6>
      <a:hlink>
        <a:srgbClr val="AA312C"/>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Benutzerdefiniertes Design">
  <a:themeElements>
    <a:clrScheme name="ASM_2016">
      <a:dk1>
        <a:srgbClr val="000000"/>
      </a:dk1>
      <a:lt1>
        <a:sysClr val="window" lastClr="FFFFFF"/>
      </a:lt1>
      <a:dk2>
        <a:srgbClr val="97A0A5"/>
      </a:dk2>
      <a:lt2>
        <a:srgbClr val="DEDFE1"/>
      </a:lt2>
      <a:accent1>
        <a:srgbClr val="AA312C"/>
      </a:accent1>
      <a:accent2>
        <a:srgbClr val="97A0A5"/>
      </a:accent2>
      <a:accent3>
        <a:srgbClr val="52575A"/>
      </a:accent3>
      <a:accent4>
        <a:srgbClr val="DEDFE1"/>
      </a:accent4>
      <a:accent5>
        <a:srgbClr val="00223D"/>
      </a:accent5>
      <a:accent6>
        <a:srgbClr val="A3D400"/>
      </a:accent6>
      <a:hlink>
        <a:srgbClr val="AA312C"/>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Benutzerdefiniertes Design">
  <a:themeElements>
    <a:clrScheme name="ASM_2016">
      <a:dk1>
        <a:srgbClr val="000000"/>
      </a:dk1>
      <a:lt1>
        <a:sysClr val="window" lastClr="FFFFFF"/>
      </a:lt1>
      <a:dk2>
        <a:srgbClr val="97A0A5"/>
      </a:dk2>
      <a:lt2>
        <a:srgbClr val="DEDFE1"/>
      </a:lt2>
      <a:accent1>
        <a:srgbClr val="AA312C"/>
      </a:accent1>
      <a:accent2>
        <a:srgbClr val="97A0A5"/>
      </a:accent2>
      <a:accent3>
        <a:srgbClr val="52575A"/>
      </a:accent3>
      <a:accent4>
        <a:srgbClr val="DEDFE1"/>
      </a:accent4>
      <a:accent5>
        <a:srgbClr val="00223D"/>
      </a:accent5>
      <a:accent6>
        <a:srgbClr val="A3D400"/>
      </a:accent6>
      <a:hlink>
        <a:srgbClr val="AA312C"/>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Benutzerdefiniertes Design">
  <a:themeElements>
    <a:clrScheme name="ASM_2016">
      <a:dk1>
        <a:srgbClr val="000000"/>
      </a:dk1>
      <a:lt1>
        <a:sysClr val="window" lastClr="FFFFFF"/>
      </a:lt1>
      <a:dk2>
        <a:srgbClr val="97A0A5"/>
      </a:dk2>
      <a:lt2>
        <a:srgbClr val="DEDFE1"/>
      </a:lt2>
      <a:accent1>
        <a:srgbClr val="AA312C"/>
      </a:accent1>
      <a:accent2>
        <a:srgbClr val="97A0A5"/>
      </a:accent2>
      <a:accent3>
        <a:srgbClr val="52575A"/>
      </a:accent3>
      <a:accent4>
        <a:srgbClr val="DEDFE1"/>
      </a:accent4>
      <a:accent5>
        <a:srgbClr val="00223D"/>
      </a:accent5>
      <a:accent6>
        <a:srgbClr val="A3D400"/>
      </a:accent6>
      <a:hlink>
        <a:srgbClr val="AA312C"/>
      </a:hlink>
      <a:folHlink>
        <a:srgbClr val="00223D"/>
      </a:folHlink>
    </a:clrScheme>
    <a:fontScheme name="ASM">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87</Words>
  <Application>Microsoft Office PowerPoint</Application>
  <PresentationFormat>Bildschirmpräsentation (16:9)</PresentationFormat>
  <Paragraphs>68</Paragraphs>
  <Slides>5</Slides>
  <Notes>0</Notes>
  <HiddenSlides>0</HiddenSlides>
  <MMClips>0</MMClips>
  <ScaleCrop>false</ScaleCrop>
  <HeadingPairs>
    <vt:vector size="8" baseType="variant">
      <vt:variant>
        <vt:lpstr>Verwendete Schriftarten</vt:lpstr>
      </vt:variant>
      <vt:variant>
        <vt:i4>5</vt:i4>
      </vt:variant>
      <vt:variant>
        <vt:lpstr>Design</vt:lpstr>
      </vt:variant>
      <vt:variant>
        <vt:i4>10</vt:i4>
      </vt:variant>
      <vt:variant>
        <vt:lpstr>Eingebettete OLE-Server</vt:lpstr>
      </vt:variant>
      <vt:variant>
        <vt:i4>4</vt:i4>
      </vt:variant>
      <vt:variant>
        <vt:lpstr>Folientitel</vt:lpstr>
      </vt:variant>
      <vt:variant>
        <vt:i4>5</vt:i4>
      </vt:variant>
    </vt:vector>
  </HeadingPairs>
  <TitlesOfParts>
    <vt:vector size="24" baseType="lpstr">
      <vt:lpstr>Arial</vt:lpstr>
      <vt:lpstr>Calibri</vt:lpstr>
      <vt:lpstr>Times New Roman</vt:lpstr>
      <vt:lpstr>Wingdings</vt:lpstr>
      <vt:lpstr>Wingdings 2</vt:lpstr>
      <vt:lpstr>Benutzerdefiniertes Design</vt:lpstr>
      <vt:lpstr>SiplaceMaster_Stand121011</vt:lpstr>
      <vt:lpstr>ASM16by9</vt:lpstr>
      <vt:lpstr>1_ASM16by9</vt:lpstr>
      <vt:lpstr>2_ASM16by9</vt:lpstr>
      <vt:lpstr>1_Benutzerdefiniertes Design</vt:lpstr>
      <vt:lpstr>2_Benutzerdefiniertes Design</vt:lpstr>
      <vt:lpstr>4_Benutzerdefiniertes Design</vt:lpstr>
      <vt:lpstr>5_Benutzerdefiniertes Design</vt:lpstr>
      <vt:lpstr>3_ASM16by9</vt:lpstr>
      <vt:lpstr>think-cell Folie</vt:lpstr>
      <vt:lpstr>Acrobat Document</vt:lpstr>
      <vt:lpstr>Paket</vt:lpstr>
      <vt:lpstr>Adobe Acrobat Document</vt:lpstr>
      <vt:lpstr>Flexibles LEAN</vt:lpstr>
      <vt:lpstr>Flexibles LEAN</vt:lpstr>
      <vt:lpstr>Flexibles LEAN</vt:lpstr>
      <vt:lpstr>Flexibles LEAN</vt:lpstr>
      <vt:lpstr>Flexibles LE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stermeier</dc:creator>
  <cp:lastModifiedBy>Gesell, Gerhard</cp:lastModifiedBy>
  <cp:revision>671</cp:revision>
  <cp:lastPrinted>2018-01-15T08:44:44Z</cp:lastPrinted>
  <dcterms:created xsi:type="dcterms:W3CDTF">2016-06-09T10:38:01Z</dcterms:created>
  <dcterms:modified xsi:type="dcterms:W3CDTF">2018-01-26T11:56:44Z</dcterms:modified>
</cp:coreProperties>
</file>